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notesSlides/notesSlide9.xml" ContentType="application/vnd.openxmlformats-officedocument.presentationml.notesSlide+xml"/>
  <Override PartName="/ppt/charts/chart15.xml" ContentType="application/vnd.openxmlformats-officedocument.drawingml.chart+xml"/>
  <Override PartName="/ppt/notesSlides/notesSlide10.xml" ContentType="application/vnd.openxmlformats-officedocument.presentationml.notesSlide+xml"/>
  <Override PartName="/ppt/charts/chart16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notesSlides/notesSlide11.xml" ContentType="application/vnd.openxmlformats-officedocument.presentationml.notesSlide+xml"/>
  <Override PartName="/ppt/charts/chart17.xml" ContentType="application/vnd.openxmlformats-officedocument.drawingml.chart+xml"/>
  <Override PartName="/ppt/notesSlides/notesSlide12.xml" ContentType="application/vnd.openxmlformats-officedocument.presentationml.notesSlide+xml"/>
  <Override PartName="/ppt/charts/chart18.xml" ContentType="application/vnd.openxmlformats-officedocument.drawingml.chart+xml"/>
  <Override PartName="/ppt/theme/themeOverride3.xml" ContentType="application/vnd.openxmlformats-officedocument.themeOverride+xml"/>
  <Override PartName="/ppt/drawings/drawing3.xml" ContentType="application/vnd.openxmlformats-officedocument.drawingml.chartshapes+xml"/>
  <Override PartName="/ppt/notesSlides/notesSlide13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notesSlides/notesSlide14.xml" ContentType="application/vnd.openxmlformats-officedocument.presentationml.notesSlide+xml"/>
  <Override PartName="/ppt/charts/chart26.xml" ContentType="application/vnd.openxmlformats-officedocument.drawingml.chart+xml"/>
  <Override PartName="/ppt/notesSlides/notesSlide15.xml" ContentType="application/vnd.openxmlformats-officedocument.presentationml.notesSlide+xml"/>
  <Override PartName="/ppt/charts/chart27.xml" ContentType="application/vnd.openxmlformats-officedocument.drawingml.chart+xml"/>
  <Override PartName="/ppt/notesSlides/notesSlide16.xml" ContentType="application/vnd.openxmlformats-officedocument.presentationml.notesSlide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notesSlides/notesSlide17.xml" ContentType="application/vnd.openxmlformats-officedocument.presentationml.notesSlide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notesSlides/notesSlide18.xml" ContentType="application/vnd.openxmlformats-officedocument.presentationml.notesSlide+xml"/>
  <Override PartName="/ppt/charts/chart42.xml" ContentType="application/vnd.openxmlformats-officedocument.drawingml.chart+xml"/>
  <Override PartName="/ppt/notesSlides/notesSlide19.xml" ContentType="application/vnd.openxmlformats-officedocument.presentationml.notesSlide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notesSlides/notesSlide20.xml" ContentType="application/vnd.openxmlformats-officedocument.presentationml.notesSlide+xml"/>
  <Override PartName="/ppt/charts/chart50.xml" ContentType="application/vnd.openxmlformats-officedocument.drawingml.chart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notesSlides/notesSlide21.xml" ContentType="application/vnd.openxmlformats-officedocument.presentationml.notesSlide+xml"/>
  <Override PartName="/ppt/charts/chart57.xml" ContentType="application/vnd.openxmlformats-officedocument.drawingml.chart+xml"/>
  <Override PartName="/ppt/theme/themeOverride4.xml" ContentType="application/vnd.openxmlformats-officedocument.themeOverride+xml"/>
  <Override PartName="/ppt/drawings/drawing4.xml" ContentType="application/vnd.openxmlformats-officedocument.drawingml.chartshapes+xml"/>
  <Override PartName="/ppt/notesSlides/notesSlide22.xml" ContentType="application/vnd.openxmlformats-officedocument.presentationml.notesSlide+xml"/>
  <Override PartName="/ppt/charts/chart58.xml" ContentType="application/vnd.openxmlformats-officedocument.drawingml.chart+xml"/>
  <Override PartName="/ppt/notesSlides/notesSlide23.xml" ContentType="application/vnd.openxmlformats-officedocument.presentationml.notesSlide+xml"/>
  <Override PartName="/ppt/charts/chart59.xml" ContentType="application/vnd.openxmlformats-officedocument.drawingml.chart+xml"/>
  <Override PartName="/ppt/notesSlides/notesSlide24.xml" ContentType="application/vnd.openxmlformats-officedocument.presentationml.notesSlide+xml"/>
  <Override PartName="/ppt/charts/chart60.xml" ContentType="application/vnd.openxmlformats-officedocument.drawingml.chart+xml"/>
  <Override PartName="/ppt/notesSlides/notesSlide25.xml" ContentType="application/vnd.openxmlformats-officedocument.presentationml.notesSlide+xml"/>
  <Override PartName="/ppt/charts/chart61.xml" ContentType="application/vnd.openxmlformats-officedocument.drawingml.chart+xml"/>
  <Override PartName="/ppt/notesSlides/notesSlide26.xml" ContentType="application/vnd.openxmlformats-officedocument.presentationml.notesSlide+xml"/>
  <Override PartName="/ppt/charts/chart62.xml" ContentType="application/vnd.openxmlformats-officedocument.drawingml.chart+xml"/>
  <Override PartName="/ppt/notesSlides/notesSlide27.xml" ContentType="application/vnd.openxmlformats-officedocument.presentationml.notesSlide+xml"/>
  <Override PartName="/ppt/charts/chart63.xml" ContentType="application/vnd.openxmlformats-officedocument.drawingml.chart+xml"/>
  <Override PartName="/ppt/notesSlides/notesSlide28.xml" ContentType="application/vnd.openxmlformats-officedocument.presentationml.notesSlide+xml"/>
  <Override PartName="/ppt/charts/chart64.xml" ContentType="application/vnd.openxmlformats-officedocument.drawingml.chart+xml"/>
  <Override PartName="/ppt/notesSlides/notesSlide29.xml" ContentType="application/vnd.openxmlformats-officedocument.presentationml.notesSlide+xml"/>
  <Override PartName="/ppt/charts/chart65.xml" ContentType="application/vnd.openxmlformats-officedocument.drawingml.chart+xml"/>
  <Override PartName="/ppt/notesSlides/notesSlide30.xml" ContentType="application/vnd.openxmlformats-officedocument.presentationml.notesSlide+xml"/>
  <Override PartName="/ppt/charts/chart66.xml" ContentType="application/vnd.openxmlformats-officedocument.drawingml.chart+xml"/>
  <Override PartName="/ppt/notesSlides/notesSlide31.xml" ContentType="application/vnd.openxmlformats-officedocument.presentationml.notesSlide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charts/chart69.xml" ContentType="application/vnd.openxmlformats-officedocument.drawingml.chart+xml"/>
  <Override PartName="/ppt/notesSlides/notesSlide32.xml" ContentType="application/vnd.openxmlformats-officedocument.presentationml.notesSlide+xml"/>
  <Override PartName="/ppt/charts/chart70.xml" ContentType="application/vnd.openxmlformats-officedocument.drawingml.chart+xml"/>
  <Override PartName="/ppt/notesSlides/notesSlide33.xml" ContentType="application/vnd.openxmlformats-officedocument.presentationml.notesSlide+xml"/>
  <Override PartName="/ppt/charts/chart71.xml" ContentType="application/vnd.openxmlformats-officedocument.drawingml.chart+xml"/>
  <Override PartName="/ppt/notesSlides/notesSlide34.xml" ContentType="application/vnd.openxmlformats-officedocument.presentationml.notesSlide+xml"/>
  <Override PartName="/ppt/charts/chart72.xml" ContentType="application/vnd.openxmlformats-officedocument.drawingml.chart+xml"/>
  <Override PartName="/ppt/charts/chart73.xml" ContentType="application/vnd.openxmlformats-officedocument.drawingml.chart+xml"/>
  <Override PartName="/ppt/charts/chart74.xml" ContentType="application/vnd.openxmlformats-officedocument.drawingml.chart+xml"/>
  <Override PartName="/ppt/charts/chart75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20" r:id="rId2"/>
    <p:sldMasterId id="2147483897" r:id="rId3"/>
  </p:sldMasterIdLst>
  <p:notesMasterIdLst>
    <p:notesMasterId r:id="rId49"/>
  </p:notesMasterIdLst>
  <p:handoutMasterIdLst>
    <p:handoutMasterId r:id="rId50"/>
  </p:handoutMasterIdLst>
  <p:sldIdLst>
    <p:sldId id="1103" r:id="rId4"/>
    <p:sldId id="1301" r:id="rId5"/>
    <p:sldId id="562" r:id="rId6"/>
    <p:sldId id="1201" r:id="rId7"/>
    <p:sldId id="1244" r:id="rId8"/>
    <p:sldId id="1260" r:id="rId9"/>
    <p:sldId id="1261" r:id="rId10"/>
    <p:sldId id="1267" r:id="rId11"/>
    <p:sldId id="1268" r:id="rId12"/>
    <p:sldId id="1262" r:id="rId13"/>
    <p:sldId id="1263" r:id="rId14"/>
    <p:sldId id="1264" r:id="rId15"/>
    <p:sldId id="1266" r:id="rId16"/>
    <p:sldId id="1302" r:id="rId17"/>
    <p:sldId id="1270" r:id="rId18"/>
    <p:sldId id="1296" r:id="rId19"/>
    <p:sldId id="1272" r:id="rId20"/>
    <p:sldId id="1297" r:id="rId21"/>
    <p:sldId id="1274" r:id="rId22"/>
    <p:sldId id="1275" r:id="rId23"/>
    <p:sldId id="1276" r:id="rId24"/>
    <p:sldId id="1277" r:id="rId25"/>
    <p:sldId id="1293" r:id="rId26"/>
    <p:sldId id="1294" r:id="rId27"/>
    <p:sldId id="1295" r:id="rId28"/>
    <p:sldId id="1291" r:id="rId29"/>
    <p:sldId id="1292" r:id="rId30"/>
    <p:sldId id="1278" r:id="rId31"/>
    <p:sldId id="1282" r:id="rId32"/>
    <p:sldId id="1280" r:id="rId33"/>
    <p:sldId id="1281" r:id="rId34"/>
    <p:sldId id="1283" r:id="rId35"/>
    <p:sldId id="1284" r:id="rId36"/>
    <p:sldId id="1286" r:id="rId37"/>
    <p:sldId id="1298" r:id="rId38"/>
    <p:sldId id="1285" r:id="rId39"/>
    <p:sldId id="1279" r:id="rId40"/>
    <p:sldId id="1287" r:id="rId41"/>
    <p:sldId id="1288" r:id="rId42"/>
    <p:sldId id="1289" r:id="rId43"/>
    <p:sldId id="1290" r:id="rId44"/>
    <p:sldId id="1299" r:id="rId45"/>
    <p:sldId id="1300" r:id="rId46"/>
    <p:sldId id="1203" r:id="rId47"/>
    <p:sldId id="617" r:id="rId48"/>
  </p:sldIdLst>
  <p:sldSz cx="12192000" cy="6858000"/>
  <p:notesSz cx="9144000" cy="6858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0" userDrawn="1">
          <p15:clr>
            <a:srgbClr val="A4A3A4"/>
          </p15:clr>
        </p15:guide>
        <p15:guide id="2" pos="5428" userDrawn="1">
          <p15:clr>
            <a:srgbClr val="A4A3A4"/>
          </p15:clr>
        </p15:guide>
        <p15:guide id="3" orient="horz" pos="1275" userDrawn="1">
          <p15:clr>
            <a:srgbClr val="A4A3A4"/>
          </p15:clr>
        </p15:guide>
        <p15:guide id="4" orient="horz" pos="1389" userDrawn="1">
          <p15:clr>
            <a:srgbClr val="A4A3A4"/>
          </p15:clr>
        </p15:guide>
        <p15:guide id="5" pos="39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BCA"/>
    <a:srgbClr val="ED6737"/>
    <a:srgbClr val="95C3FF"/>
    <a:srgbClr val="281051"/>
    <a:srgbClr val="C00000"/>
    <a:srgbClr val="993366"/>
    <a:srgbClr val="1F497D"/>
    <a:srgbClr val="F0F0F0"/>
    <a:srgbClr val="00B050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398D9B-37F5-4BBA-A900-6F3CA8C94572}" v="17" dt="2023-02-21T12:22:50.7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Styl s motivem 1 – zvýraznění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539" autoAdjust="0"/>
    <p:restoredTop sz="92121" autoAdjust="0"/>
  </p:normalViewPr>
  <p:slideViewPr>
    <p:cSldViewPr snapToGrid="0">
      <p:cViewPr varScale="1">
        <p:scale>
          <a:sx n="113" d="100"/>
          <a:sy n="113" d="100"/>
        </p:scale>
        <p:origin x="822" y="102"/>
      </p:cViewPr>
      <p:guideLst>
        <p:guide orient="horz" pos="1480"/>
        <p:guide pos="5428"/>
        <p:guide orient="horz" pos="1275"/>
        <p:guide orient="horz" pos="1389"/>
        <p:guide pos="39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1" d="100"/>
          <a:sy n="111" d="100"/>
        </p:scale>
        <p:origin x="244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handoutMaster" Target="handoutMasters/handoutMaster1.xml"/><Relationship Id="rId55" Type="http://schemas.microsoft.com/office/2015/10/relationships/revisionInfo" Target="revisionInfo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8" Type="http://schemas.openxmlformats.org/officeDocument/2006/relationships/slide" Target="slides/slide5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2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3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.xlsx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7.xlsx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8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9.xlsx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0.xlsx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1.xlsx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2.xlsx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3.xlsx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4.xlsx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5.xlsx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package" Target="../embeddings/Microsoft_Excel_Worksheet56.xlsx"/><Relationship Id="rId1" Type="http://schemas.openxmlformats.org/officeDocument/2006/relationships/themeOverride" Target="../theme/themeOverride4.xml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7.xlsx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8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9.xlsx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0.xlsx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1.xlsx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2.xlsx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3.xlsx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4.xlsx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5.xlsx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6.xlsx"/></Relationships>
</file>

<file path=ppt/charts/_rels/chart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7.xlsx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8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9.xlsx"/></Relationships>
</file>

<file path=ppt/charts/_rels/chart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0.xlsx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1.xlsx"/></Relationships>
</file>

<file path=ppt/charts/_rels/chart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2.xlsx"/></Relationships>
</file>

<file path=ppt/charts/_rels/chart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3.xlsx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4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0989569950244104E-2"/>
          <c:y val="6.1711679675300266E-2"/>
          <c:w val="0.64995222854514467"/>
          <c:h val="0.87657664064939944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F0000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0">
                  <c:v>34.754999999999995</c:v>
                </c:pt>
                <c:pt idx="1">
                  <c:v>39.286000000000001</c:v>
                </c:pt>
                <c:pt idx="2">
                  <c:v>26.605</c:v>
                </c:pt>
                <c:pt idx="3">
                  <c:v>40.86</c:v>
                </c:pt>
                <c:pt idx="4">
                  <c:v>42.424000000000007</c:v>
                </c:pt>
                <c:pt idx="5">
                  <c:v>24.369999999999997</c:v>
                </c:pt>
                <c:pt idx="6">
                  <c:v>41.665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70-495C-9C36-44D268E04F19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ED6737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General</c:formatCode>
                <c:ptCount val="7"/>
                <c:pt idx="0">
                  <c:v>31.475999999999999</c:v>
                </c:pt>
                <c:pt idx="1">
                  <c:v>32.143000000000001</c:v>
                </c:pt>
                <c:pt idx="2">
                  <c:v>30.276</c:v>
                </c:pt>
                <c:pt idx="3">
                  <c:v>29.032</c:v>
                </c:pt>
                <c:pt idx="4">
                  <c:v>30.302999999999997</c:v>
                </c:pt>
                <c:pt idx="5">
                  <c:v>37.814999999999998</c:v>
                </c:pt>
                <c:pt idx="6">
                  <c:v>23.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70-495C-9C36-44D268E04F19}"/>
            </c:ext>
          </c:extLst>
        </c:ser>
        <c:ser>
          <c:idx val="1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002554">
                <a:lumMod val="25000"/>
                <a:lumOff val="75000"/>
              </a:srgbClr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0">
                  <c:v>18.689</c:v>
                </c:pt>
                <c:pt idx="1">
                  <c:v>15.816000000000001</c:v>
                </c:pt>
                <c:pt idx="2">
                  <c:v>23.853000000000002</c:v>
                </c:pt>
                <c:pt idx="3">
                  <c:v>19.355</c:v>
                </c:pt>
                <c:pt idx="4">
                  <c:v>12.121</c:v>
                </c:pt>
                <c:pt idx="5">
                  <c:v>19.327999999999999</c:v>
                </c:pt>
                <c:pt idx="6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70-495C-9C36-44D268E04F19}"/>
            </c:ext>
          </c:extLst>
        </c:ser>
        <c:ser>
          <c:idx val="7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D9D9D9"/>
            </a:solidFill>
            <a:ln w="22355">
              <a:noFill/>
            </a:ln>
          </c:spPr>
          <c:invertIfNegative val="0"/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3-FD70-495C-9C36-44D268E04F19}"/>
            </c:ext>
          </c:extLst>
        </c:ser>
        <c:ser>
          <c:idx val="8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008BCA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  <c:pt idx="0">
                  <c:v>7.2130000000000001</c:v>
                </c:pt>
                <c:pt idx="1">
                  <c:v>4.5919999999999996</c:v>
                </c:pt>
                <c:pt idx="2">
                  <c:v>11.927</c:v>
                </c:pt>
                <c:pt idx="3">
                  <c:v>7.5270000000000001</c:v>
                </c:pt>
                <c:pt idx="4">
                  <c:v>3.03</c:v>
                </c:pt>
                <c:pt idx="5">
                  <c:v>10.084</c:v>
                </c:pt>
                <c:pt idx="6">
                  <c:v>3.333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D70-495C-9C36-44D268E04F19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dLbl>
              <c:idx val="2"/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lang="en-US" sz="1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Arial"/>
                        <a:cs typeface="Arial"/>
                      </a:defRPr>
                    </a:pPr>
                    <a:fld id="{B61B690A-664C-46C5-810A-5ED6198B11F5}" type="VALUE">
                      <a:rPr lang="en-US" sz="1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Arial"/>
                        <a:cs typeface="Arial"/>
                      </a:rPr>
                      <a:pPr algn="ctr">
                        <a:defRPr lang="en-US" sz="11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Arial"/>
                          <a:cs typeface="Arial"/>
                        </a:defRPr>
                      </a:pPr>
                      <a:t>[HODNOTA]</a:t>
                    </a:fld>
                    <a:endParaRPr lang="cs-CZ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D70-495C-9C36-44D268E04F1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7:$H$7</c:f>
              <c:numCache>
                <c:formatCode>General</c:formatCode>
                <c:ptCount val="7"/>
                <c:pt idx="0">
                  <c:v>7.8689999999999998</c:v>
                </c:pt>
                <c:pt idx="1">
                  <c:v>8.1630000000000003</c:v>
                </c:pt>
                <c:pt idx="2">
                  <c:v>7.3390000000000004</c:v>
                </c:pt>
                <c:pt idx="3">
                  <c:v>3.226</c:v>
                </c:pt>
                <c:pt idx="4">
                  <c:v>12.121</c:v>
                </c:pt>
                <c:pt idx="5">
                  <c:v>8.4030000000000005</c:v>
                </c:pt>
                <c:pt idx="6">
                  <c:v>11.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D70-495C-9C36-44D268E04F19}"/>
            </c:ext>
          </c:extLst>
        </c:ser>
        <c:ser>
          <c:idx val="0"/>
          <c:order val="6"/>
          <c:tx>
            <c:strRef>
              <c:f>Sheet1!$A$8</c:f>
              <c:strCache>
                <c:ptCount val="1"/>
                <c:pt idx="0">
                  <c:v>box</c:v>
                </c:pt>
              </c:strCache>
            </c:strRef>
          </c:tx>
          <c:invertIfNegative val="0"/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8:$H$8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7-FD70-495C-9C36-44D268E04F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8"/>
        <c:overlap val="100"/>
        <c:axId val="185115120"/>
        <c:axId val="185114728"/>
      </c:barChart>
      <c:catAx>
        <c:axId val="1851151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8511472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85114728"/>
        <c:scaling>
          <c:orientation val="minMax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185115120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2">
    <c:autoUpdate val="0"/>
  </c:externalData>
  <c:userShapes r:id="rId3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9D-48C0-BEA6-F142312A2D35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solidFill>
                  <a:srgbClr val="00B05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159D-48C0-BEA6-F142312A2D35}"/>
              </c:ext>
            </c:extLst>
          </c:dPt>
          <c:dPt>
            <c:idx val="1"/>
            <c:bubble3D val="0"/>
            <c:spPr>
              <a:solidFill>
                <a:srgbClr val="ED673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159D-48C0-BEA6-F142312A2D35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159D-48C0-BEA6-F142312A2D35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59D-48C0-BEA6-F142312A2D3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59.633000000000003</c:v>
                </c:pt>
                <c:pt idx="1">
                  <c:v>37.615000000000002</c:v>
                </c:pt>
                <c:pt idx="2">
                  <c:v>2.75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59D-48C0-BEA6-F142312A2D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30-4E4D-AD9F-91211CE0F899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CB30-4E4D-AD9F-91211CE0F899}"/>
              </c:ext>
            </c:extLst>
          </c:dPt>
          <c:dPt>
            <c:idx val="1"/>
            <c:bubble3D val="0"/>
            <c:spPr>
              <a:solidFill>
                <a:srgbClr val="ED673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CB30-4E4D-AD9F-91211CE0F899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CB30-4E4D-AD9F-91211CE0F899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B30-4E4D-AD9F-91211CE0F89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41.935000000000002</c:v>
                </c:pt>
                <c:pt idx="1">
                  <c:v>53.762999999999998</c:v>
                </c:pt>
                <c:pt idx="2">
                  <c:v>4.301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B30-4E4D-AD9F-91211CE0F8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A-472B-9794-2EA06E48EC86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AA8A-472B-9794-2EA06E48EC86}"/>
              </c:ext>
            </c:extLst>
          </c:dPt>
          <c:dPt>
            <c:idx val="1"/>
            <c:bubble3D val="0"/>
            <c:spPr>
              <a:solidFill>
                <a:srgbClr val="ED673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A8A-472B-9794-2EA06E48EC86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A8A-472B-9794-2EA06E48EC86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A8A-472B-9794-2EA06E48EC8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21.212</c:v>
                </c:pt>
                <c:pt idx="1">
                  <c:v>69.697000000000003</c:v>
                </c:pt>
                <c:pt idx="2">
                  <c:v>9.090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A8A-472B-9794-2EA06E48EC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95-4BC5-AEC3-EE5FF6BE2ABD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4D95-4BC5-AEC3-EE5FF6BE2ABD}"/>
              </c:ext>
            </c:extLst>
          </c:dPt>
          <c:dPt>
            <c:idx val="1"/>
            <c:bubble3D val="0"/>
            <c:spPr>
              <a:solidFill>
                <a:srgbClr val="ED673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D95-4BC5-AEC3-EE5FF6BE2ABD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4D95-4BC5-AEC3-EE5FF6BE2ABD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D95-4BC5-AEC3-EE5FF6BE2AB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37.814999999999998</c:v>
                </c:pt>
                <c:pt idx="1">
                  <c:v>61.344999999999999</c:v>
                </c:pt>
                <c:pt idx="2">
                  <c:v>0.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D95-4BC5-AEC3-EE5FF6BE2A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4A-4DE2-82D1-4716779193AA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2B4A-4DE2-82D1-4716779193AA}"/>
              </c:ext>
            </c:extLst>
          </c:dPt>
          <c:dPt>
            <c:idx val="1"/>
            <c:bubble3D val="0"/>
            <c:spPr>
              <a:solidFill>
                <a:srgbClr val="ED673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B4A-4DE2-82D1-4716779193AA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2B4A-4DE2-82D1-4716779193AA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B4A-4DE2-82D1-4716779193A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38.332999999999998</c:v>
                </c:pt>
                <c:pt idx="1">
                  <c:v>56.667000000000002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B4A-4DE2-82D1-4716779193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71499853087581688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F2B-420B-840E-BB5BE3611127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Evropský patentový úřad (EPO)</c:v>
                </c:pt>
                <c:pt idx="1">
                  <c:v>Úřad průmyslového vlastnictví (ÚPV)</c:v>
                </c:pt>
                <c:pt idx="2">
                  <c:v>Úřad Evropské unie pro duševní vlastnictví (EUIPO)</c:v>
                </c:pt>
                <c:pt idx="3">
                  <c:v>Světová organizace duševního vlastnictví (WIPO)</c:v>
                </c:pt>
                <c:pt idx="4">
                  <c:v>Enterprise Europe Network (EEN)</c:v>
                </c:pt>
                <c:pt idx="5">
                  <c:v>TMview/DesignView</c:v>
                </c:pt>
                <c:pt idx="6">
                  <c:v>ESPACENET</c:v>
                </c:pt>
                <c:pt idx="7">
                  <c:v>Žádné z uvedených pojmů neznám</c:v>
                </c:pt>
              </c:strCache>
            </c:strRef>
          </c:cat>
          <c:val>
            <c:numRef>
              <c:f>Sheet1!$B$2:$B$9</c:f>
              <c:numCache>
                <c:formatCode>0</c:formatCode>
                <c:ptCount val="8"/>
                <c:pt idx="0">
                  <c:v>64.262</c:v>
                </c:pt>
                <c:pt idx="1">
                  <c:v>58.360999999999997</c:v>
                </c:pt>
                <c:pt idx="2">
                  <c:v>36.720999999999997</c:v>
                </c:pt>
                <c:pt idx="3">
                  <c:v>28.852</c:v>
                </c:pt>
                <c:pt idx="4">
                  <c:v>8.8520000000000003</c:v>
                </c:pt>
                <c:pt idx="5">
                  <c:v>2.6230000000000002</c:v>
                </c:pt>
                <c:pt idx="6">
                  <c:v>2.2949999999999999</c:v>
                </c:pt>
                <c:pt idx="7">
                  <c:v>12.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0989569950244104E-2"/>
          <c:y val="6.1711679675300266E-2"/>
          <c:w val="0.64995222854514467"/>
          <c:h val="0.87657664064939944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ysClr val="window" lastClr="FFFFFF">
                <a:lumMod val="65000"/>
              </a:sysClr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0">
                  <c:v>0.98399999999999999</c:v>
                </c:pt>
                <c:pt idx="1">
                  <c:v>1.5309999999999999</c:v>
                </c:pt>
                <c:pt idx="2">
                  <c:v>0</c:v>
                </c:pt>
                <c:pt idx="3">
                  <c:v>1.075</c:v>
                </c:pt>
                <c:pt idx="4">
                  <c:v>3.03</c:v>
                </c:pt>
                <c:pt idx="5">
                  <c:v>0</c:v>
                </c:pt>
                <c:pt idx="6">
                  <c:v>1.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70-495C-9C36-44D268E04F19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F0000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General</c:formatCode>
                <c:ptCount val="7"/>
                <c:pt idx="0">
                  <c:v>35.081000000000003</c:v>
                </c:pt>
                <c:pt idx="1">
                  <c:v>40.305999999999997</c:v>
                </c:pt>
                <c:pt idx="2">
                  <c:v>25.687999999999999</c:v>
                </c:pt>
                <c:pt idx="3">
                  <c:v>36.558999999999997</c:v>
                </c:pt>
                <c:pt idx="4">
                  <c:v>39.393999999999998</c:v>
                </c:pt>
                <c:pt idx="5">
                  <c:v>28.570999999999998</c:v>
                </c:pt>
                <c:pt idx="6">
                  <c:v>43.332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70-495C-9C36-44D268E04F19}"/>
            </c:ext>
          </c:extLst>
        </c:ser>
        <c:ser>
          <c:idx val="1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ED6737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0">
                  <c:v>33.115000000000002</c:v>
                </c:pt>
                <c:pt idx="1">
                  <c:v>31.123000000000001</c:v>
                </c:pt>
                <c:pt idx="2">
                  <c:v>36.697000000000003</c:v>
                </c:pt>
                <c:pt idx="3">
                  <c:v>34.408999999999999</c:v>
                </c:pt>
                <c:pt idx="4">
                  <c:v>30.302999999999997</c:v>
                </c:pt>
                <c:pt idx="5">
                  <c:v>35.293999999999997</c:v>
                </c:pt>
                <c:pt idx="6">
                  <c:v>28.334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70-495C-9C36-44D268E04F19}"/>
            </c:ext>
          </c:extLst>
        </c:ser>
        <c:ser>
          <c:idx val="7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95C3FF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  <c:pt idx="0">
                  <c:v>18.689</c:v>
                </c:pt>
                <c:pt idx="1">
                  <c:v>14.795999999999999</c:v>
                </c:pt>
                <c:pt idx="2">
                  <c:v>25.687999999999999</c:v>
                </c:pt>
                <c:pt idx="3">
                  <c:v>22.581</c:v>
                </c:pt>
                <c:pt idx="4">
                  <c:v>9.0909999999999993</c:v>
                </c:pt>
                <c:pt idx="5">
                  <c:v>21.849</c:v>
                </c:pt>
                <c:pt idx="6">
                  <c:v>11.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D70-495C-9C36-44D268E04F19}"/>
            </c:ext>
          </c:extLst>
        </c:ser>
        <c:ser>
          <c:idx val="8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008BCA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  <c:pt idx="0">
                  <c:v>6.23</c:v>
                </c:pt>
                <c:pt idx="1">
                  <c:v>5.6120000000000001</c:v>
                </c:pt>
                <c:pt idx="2">
                  <c:v>7.3390000000000004</c:v>
                </c:pt>
                <c:pt idx="3">
                  <c:v>3.226</c:v>
                </c:pt>
                <c:pt idx="4">
                  <c:v>3.03</c:v>
                </c:pt>
                <c:pt idx="5">
                  <c:v>8.4030000000000005</c:v>
                </c:pt>
                <c:pt idx="6">
                  <c:v>8.333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D70-495C-9C36-44D268E04F19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dLbl>
              <c:idx val="2"/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lang="en-US" sz="1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Arial"/>
                        <a:cs typeface="Arial"/>
                      </a:defRPr>
                    </a:pPr>
                    <a:fld id="{B61B690A-664C-46C5-810A-5ED6198B11F5}" type="VALUE">
                      <a:rPr lang="en-US" sz="1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Arial"/>
                        <a:cs typeface="Arial"/>
                      </a:rPr>
                      <a:pPr algn="ctr">
                        <a:defRPr lang="en-US" sz="11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Arial"/>
                          <a:cs typeface="Arial"/>
                        </a:defRPr>
                      </a:pPr>
                      <a:t>[HODNOTA]</a:t>
                    </a:fld>
                    <a:endParaRPr lang="cs-CZ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D70-495C-9C36-44D268E04F1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7:$H$7</c:f>
              <c:numCache>
                <c:formatCode>General</c:formatCode>
                <c:ptCount val="7"/>
                <c:pt idx="0">
                  <c:v>5.9020000000000001</c:v>
                </c:pt>
                <c:pt idx="1">
                  <c:v>6.633</c:v>
                </c:pt>
                <c:pt idx="2">
                  <c:v>4.5869999999999997</c:v>
                </c:pt>
                <c:pt idx="3">
                  <c:v>2.1509999999999998</c:v>
                </c:pt>
                <c:pt idx="4">
                  <c:v>15.151999999999999</c:v>
                </c:pt>
                <c:pt idx="5">
                  <c:v>5.8819999999999997</c:v>
                </c:pt>
                <c:pt idx="6">
                  <c:v>6.666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D70-495C-9C36-44D268E04F19}"/>
            </c:ext>
          </c:extLst>
        </c:ser>
        <c:ser>
          <c:idx val="0"/>
          <c:order val="6"/>
          <c:tx>
            <c:strRef>
              <c:f>Sheet1!$A$8</c:f>
              <c:strCache>
                <c:ptCount val="1"/>
                <c:pt idx="0">
                  <c:v>box</c:v>
                </c:pt>
              </c:strCache>
            </c:strRef>
          </c:tx>
          <c:invertIfNegative val="0"/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8:$H$8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7-FD70-495C-9C36-44D268E04F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8"/>
        <c:overlap val="100"/>
        <c:axId val="185115120"/>
        <c:axId val="185114728"/>
      </c:barChart>
      <c:catAx>
        <c:axId val="1851151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8511472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85114728"/>
        <c:scaling>
          <c:orientation val="minMax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185115120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2">
    <c:autoUpdate val="0"/>
  </c:externalData>
  <c:userShapes r:id="rId3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2079028205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95-46D4-8F0D-C935CF952797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Přečetl/a jsem si o nich na internetu</c:v>
                </c:pt>
                <c:pt idx="1">
                  <c:v>Informován/upozorněn obchodním poradcem (účetním,</c:v>
                </c:pt>
                <c:pt idx="2">
                  <c:v>Ve škole / při studiu</c:v>
                </c:pt>
                <c:pt idx="3">
                  <c:v>Informován/varován přítelem/kolegou</c:v>
                </c:pt>
                <c:pt idx="4">
                  <c:v>Z tohoto dotazníku</c:v>
                </c:pt>
                <c:pt idx="5">
                  <c:v>Četl/a jsem časopis/knihu/noviny</c:v>
                </c:pt>
                <c:pt idx="6">
                  <c:v>Obdržel dopis, ve kterém se uvádí, že jsem porušil jejich</c:v>
                </c:pt>
                <c:pt idx="7">
                  <c:v>Někdo mě okopíroval</c:v>
                </c:pt>
                <c:pt idx="8">
                  <c:v>Jiné</c:v>
                </c:pt>
              </c:strCache>
            </c:strRef>
          </c:cat>
          <c:val>
            <c:numRef>
              <c:f>Sheet1!$B$2:$B$10</c:f>
              <c:numCache>
                <c:formatCode>0</c:formatCode>
                <c:ptCount val="9"/>
                <c:pt idx="0">
                  <c:v>33.442999999999998</c:v>
                </c:pt>
                <c:pt idx="1">
                  <c:v>23.606999999999999</c:v>
                </c:pt>
                <c:pt idx="2">
                  <c:v>15.41</c:v>
                </c:pt>
                <c:pt idx="3">
                  <c:v>9.5079999999999991</c:v>
                </c:pt>
                <c:pt idx="4">
                  <c:v>8.1969999999999992</c:v>
                </c:pt>
                <c:pt idx="5">
                  <c:v>4.9180000000000001</c:v>
                </c:pt>
                <c:pt idx="6">
                  <c:v>1.639</c:v>
                </c:pt>
                <c:pt idx="7">
                  <c:v>1.3109999999999999</c:v>
                </c:pt>
                <c:pt idx="8">
                  <c:v>1.96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0989569950244104E-2"/>
          <c:y val="6.1711679675300266E-2"/>
          <c:w val="0.64995222854514467"/>
          <c:h val="0.87657664064939944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ysClr val="window" lastClr="FFFFFF">
                <a:lumMod val="65000"/>
              </a:sysClr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0-FD70-495C-9C36-44D268E04F19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F0000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General</c:formatCode>
                <c:ptCount val="7"/>
                <c:pt idx="0">
                  <c:v>2.6230000000000002</c:v>
                </c:pt>
                <c:pt idx="1">
                  <c:v>2.5510000000000002</c:v>
                </c:pt>
                <c:pt idx="2">
                  <c:v>2.7519999999999998</c:v>
                </c:pt>
                <c:pt idx="3">
                  <c:v>2.1509999999999998</c:v>
                </c:pt>
                <c:pt idx="4">
                  <c:v>3.03</c:v>
                </c:pt>
                <c:pt idx="5">
                  <c:v>1.681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70-495C-9C36-44D268E04F19}"/>
            </c:ext>
          </c:extLst>
        </c:ser>
        <c:ser>
          <c:idx val="1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ED6737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0">
                  <c:v>7.2130000000000001</c:v>
                </c:pt>
                <c:pt idx="1">
                  <c:v>8.673</c:v>
                </c:pt>
                <c:pt idx="2">
                  <c:v>4.5869999999999997</c:v>
                </c:pt>
                <c:pt idx="3">
                  <c:v>6.452</c:v>
                </c:pt>
                <c:pt idx="4">
                  <c:v>3.03</c:v>
                </c:pt>
                <c:pt idx="5">
                  <c:v>9.2439999999999998</c:v>
                </c:pt>
                <c:pt idx="6">
                  <c:v>6.666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70-495C-9C36-44D268E04F19}"/>
            </c:ext>
          </c:extLst>
        </c:ser>
        <c:ser>
          <c:idx val="7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95C3FF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  <c:pt idx="0">
                  <c:v>24.262</c:v>
                </c:pt>
                <c:pt idx="1">
                  <c:v>25.510999999999999</c:v>
                </c:pt>
                <c:pt idx="2">
                  <c:v>22.018000000000001</c:v>
                </c:pt>
                <c:pt idx="3">
                  <c:v>25.806000000000001</c:v>
                </c:pt>
                <c:pt idx="4">
                  <c:v>48.484999999999999</c:v>
                </c:pt>
                <c:pt idx="5">
                  <c:v>19.327999999999999</c:v>
                </c:pt>
                <c:pt idx="6">
                  <c:v>18.332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D70-495C-9C36-44D268E04F19}"/>
            </c:ext>
          </c:extLst>
        </c:ser>
        <c:ser>
          <c:idx val="8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008BCA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  <c:pt idx="0">
                  <c:v>37.048999999999999</c:v>
                </c:pt>
                <c:pt idx="1">
                  <c:v>38.776000000000003</c:v>
                </c:pt>
                <c:pt idx="2">
                  <c:v>33.945</c:v>
                </c:pt>
                <c:pt idx="3">
                  <c:v>44.085999999999999</c:v>
                </c:pt>
                <c:pt idx="4">
                  <c:v>27.273</c:v>
                </c:pt>
                <c:pt idx="5">
                  <c:v>31.933</c:v>
                </c:pt>
                <c:pt idx="6">
                  <c:v>41.667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D70-495C-9C36-44D268E04F19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dLbl>
              <c:idx val="2"/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lang="en-US" sz="1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Arial"/>
                        <a:cs typeface="Arial"/>
                      </a:defRPr>
                    </a:pPr>
                    <a:fld id="{B61B690A-664C-46C5-810A-5ED6198B11F5}" type="VALUE">
                      <a:rPr lang="en-US" sz="1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Arial"/>
                        <a:cs typeface="Arial"/>
                      </a:rPr>
                      <a:pPr algn="ctr">
                        <a:defRPr lang="en-US" sz="11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Arial"/>
                          <a:cs typeface="Arial"/>
                        </a:defRPr>
                      </a:pPr>
                      <a:t>[HODNOTA]</a:t>
                    </a:fld>
                    <a:endParaRPr lang="cs-CZ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D70-495C-9C36-44D268E04F1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7:$H$7</c:f>
              <c:numCache>
                <c:formatCode>General</c:formatCode>
                <c:ptCount val="7"/>
                <c:pt idx="0">
                  <c:v>28.852</c:v>
                </c:pt>
                <c:pt idx="1">
                  <c:v>24.49</c:v>
                </c:pt>
                <c:pt idx="2">
                  <c:v>36.697000000000003</c:v>
                </c:pt>
                <c:pt idx="3">
                  <c:v>21.504999999999999</c:v>
                </c:pt>
                <c:pt idx="4">
                  <c:v>18.181999999999999</c:v>
                </c:pt>
                <c:pt idx="5">
                  <c:v>37.814999999999998</c:v>
                </c:pt>
                <c:pt idx="6">
                  <c:v>28.332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D70-495C-9C36-44D268E04F19}"/>
            </c:ext>
          </c:extLst>
        </c:ser>
        <c:ser>
          <c:idx val="0"/>
          <c:order val="6"/>
          <c:tx>
            <c:strRef>
              <c:f>Sheet1!$A$8</c:f>
              <c:strCache>
                <c:ptCount val="1"/>
                <c:pt idx="0">
                  <c:v>box</c:v>
                </c:pt>
              </c:strCache>
            </c:strRef>
          </c:tx>
          <c:invertIfNegative val="0"/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8:$H$8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7-FD70-495C-9C36-44D268E04F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8"/>
        <c:overlap val="100"/>
        <c:axId val="185115120"/>
        <c:axId val="185114728"/>
      </c:barChart>
      <c:catAx>
        <c:axId val="1851151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8511472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85114728"/>
        <c:scaling>
          <c:orientation val="minMax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185115120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2">
    <c:autoUpdate val="0"/>
  </c:externalData>
  <c:userShapes r:id="rId3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E87722"/>
              </a:solidFill>
            </c:spPr>
            <c:extLst>
              <c:ext xmlns:c16="http://schemas.microsoft.com/office/drawing/2014/chart" uri="{C3380CC4-5D6E-409C-BE32-E72D297353CC}">
                <c16:uniqueId val="{00000000-DA07-41C7-AB16-1565B55AE109}"/>
              </c:ext>
            </c:extLst>
          </c:dPt>
          <c:dPt>
            <c:idx val="2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0-2D0F-4A47-9F7C-B3BF477E52F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no</c:v>
                </c:pt>
                <c:pt idx="1">
                  <c:v>Ne</c:v>
                </c:pt>
                <c:pt idx="2">
                  <c:v>Nevím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.82</c:v>
                </c:pt>
                <c:pt idx="1">
                  <c:v>61.311</c:v>
                </c:pt>
                <c:pt idx="2">
                  <c:v>7.868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CF-4E5A-A74E-C8A501A3E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1872885502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Obecné vyhledávání na internetu (např. pomocí Google)</c:v>
                </c:pt>
                <c:pt idx="1">
                  <c:v>Banka</c:v>
                </c:pt>
                <c:pt idx="2">
                  <c:v>Účetní</c:v>
                </c:pt>
                <c:pt idx="3">
                  <c:v>Univerzita/vysoká škola</c:v>
                </c:pt>
                <c:pt idx="4">
                  <c:v>Obchodní komora</c:v>
                </c:pt>
                <c:pt idx="5">
                  <c:v>Průmyslová sdružení</c:v>
                </c:pt>
                <c:pt idx="6">
                  <c:v>Agentura pro podnikání a inovace</c:v>
                </c:pt>
                <c:pt idx="7">
                  <c:v>Vládní instituce (Jiné než Úřad duševního vlastnictví)</c:v>
                </c:pt>
                <c:pt idx="8">
                  <c:v>Patentový/právní zástupce</c:v>
                </c:pt>
                <c:pt idx="9">
                  <c:v>Úřad průmyslového vlastnictví</c:v>
                </c:pt>
                <c:pt idx="10">
                  <c:v>Místní centrum (např. RIS3)</c:v>
                </c:pt>
                <c:pt idx="11">
                  <c:v>Akcelerátor</c:v>
                </c:pt>
                <c:pt idx="12">
                  <c:v>Stránky Evropského patentového úřadu, Úřadu Evropské unie pro duševní vlastnictví nebo Světové organizace duševního vlastnictví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47.213000000000001</c:v>
                </c:pt>
                <c:pt idx="1">
                  <c:v>33.442999999999998</c:v>
                </c:pt>
                <c:pt idx="2">
                  <c:v>26.556999999999999</c:v>
                </c:pt>
                <c:pt idx="3">
                  <c:v>20</c:v>
                </c:pt>
                <c:pt idx="4">
                  <c:v>17.704999999999998</c:v>
                </c:pt>
                <c:pt idx="5">
                  <c:v>15.41</c:v>
                </c:pt>
                <c:pt idx="6">
                  <c:v>12.459</c:v>
                </c:pt>
                <c:pt idx="7">
                  <c:v>11.475</c:v>
                </c:pt>
                <c:pt idx="8">
                  <c:v>8.5250000000000004</c:v>
                </c:pt>
                <c:pt idx="9">
                  <c:v>7.8689999999999998</c:v>
                </c:pt>
                <c:pt idx="10">
                  <c:v>5.5739999999999998</c:v>
                </c:pt>
                <c:pt idx="11">
                  <c:v>3.9340000000000002</c:v>
                </c:pt>
                <c:pt idx="12">
                  <c:v>3.934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0E-4D5E-BECB-F8FC203E8D2D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8F0E-4D5E-BECB-F8FC203E8D2D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F0E-4D5E-BECB-F8FC203E8D2D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8F0E-4D5E-BECB-F8FC203E8D2D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F0E-4D5E-BECB-F8FC203E8D2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20.917999999999999</c:v>
                </c:pt>
                <c:pt idx="1">
                  <c:v>70.408000000000001</c:v>
                </c:pt>
                <c:pt idx="2">
                  <c:v>8.6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F0E-4D5E-BECB-F8FC203E8D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08-4B3A-8C1D-8632A784BA63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solidFill>
                  <a:srgbClr val="00B05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6F08-4B3A-8C1D-8632A784BA63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F08-4B3A-8C1D-8632A784BA63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6F08-4B3A-8C1D-8632A784BA63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F08-4B3A-8C1D-8632A784BA63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48.624000000000002</c:v>
                </c:pt>
                <c:pt idx="1">
                  <c:v>44.954000000000001</c:v>
                </c:pt>
                <c:pt idx="2">
                  <c:v>6.421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F08-4B3A-8C1D-8632A784BA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6A-4681-9BBA-C2968C418C83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2B6A-4681-9BBA-C2968C418C83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B6A-4681-9BBA-C2968C418C83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2B6A-4681-9BBA-C2968C418C83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B6A-4681-9BBA-C2968C418C83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35.484000000000002</c:v>
                </c:pt>
                <c:pt idx="1">
                  <c:v>58.064999999999998</c:v>
                </c:pt>
                <c:pt idx="2">
                  <c:v>6.4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B6A-4681-9BBA-C2968C418C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01-4664-81ED-39B7FD4DD34F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9201-4664-81ED-39B7FD4DD34F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201-4664-81ED-39B7FD4DD34F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9201-4664-81ED-39B7FD4DD34F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201-4664-81ED-39B7FD4DD34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36.363999999999997</c:v>
                </c:pt>
                <c:pt idx="1">
                  <c:v>63.636000000000003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201-4664-81ED-39B7FD4DD3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C9-4E1C-A15F-A06721B31FF1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61C9-4E1C-A15F-A06721B31FF1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1C9-4E1C-A15F-A06721B31FF1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61C9-4E1C-A15F-A06721B31FF1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1C9-4E1C-A15F-A06721B31FF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25.21</c:v>
                </c:pt>
                <c:pt idx="1">
                  <c:v>66.387</c:v>
                </c:pt>
                <c:pt idx="2">
                  <c:v>8.403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1C9-4E1C-A15F-A06721B31F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B5-4148-8ADD-0EDB7C552E13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94B5-4148-8ADD-0EDB7C552E13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4B5-4148-8ADD-0EDB7C552E13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94B5-4148-8ADD-0EDB7C552E13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4B5-4148-8ADD-0EDB7C552E13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31.667000000000002</c:v>
                </c:pt>
                <c:pt idx="1">
                  <c:v>55</c:v>
                </c:pt>
                <c:pt idx="2">
                  <c:v>13.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4B5-4148-8ADD-0EDB7C552E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2079028205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95-46D4-8F0D-C935CF952797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Ochranné známky EU</c:v>
                </c:pt>
                <c:pt idx="1">
                  <c:v>Národní ochranné známky</c:v>
                </c:pt>
                <c:pt idx="2">
                  <c:v>Užitné vzory</c:v>
                </c:pt>
                <c:pt idx="3">
                  <c:v>Patenty</c:v>
                </c:pt>
                <c:pt idx="4">
                  <c:v>Národní zapsané průmyslové vzory</c:v>
                </c:pt>
                <c:pt idx="5">
                  <c:v>Další alternativní opatření ochrany, jako jsou doménová jména</c:v>
                </c:pt>
                <c:pt idx="6">
                  <c:v>Zapsané průmyslové vzory Společenství</c:v>
                </c:pt>
                <c:pt idx="7">
                  <c:v>Šlechtitelská práva/odrůdová práva</c:v>
                </c:pt>
                <c:pt idx="8">
                  <c:v>Nevím (bez odpovědi)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43.616999999999997</c:v>
                </c:pt>
                <c:pt idx="1">
                  <c:v>39.362000000000002</c:v>
                </c:pt>
                <c:pt idx="2">
                  <c:v>38.298000000000002</c:v>
                </c:pt>
                <c:pt idx="3">
                  <c:v>28.722999999999999</c:v>
                </c:pt>
                <c:pt idx="4">
                  <c:v>21.277000000000001</c:v>
                </c:pt>
                <c:pt idx="5">
                  <c:v>14.894</c:v>
                </c:pt>
                <c:pt idx="6">
                  <c:v>5.319</c:v>
                </c:pt>
                <c:pt idx="7">
                  <c:v>2.1280000000000001</c:v>
                </c:pt>
                <c:pt idx="8">
                  <c:v>1.06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2079028205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6D5-4E68-900A-885855ED44FB}"/>
              </c:ext>
            </c:extLst>
          </c:dPt>
          <c:dPt>
            <c:idx val="5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6D5-4E68-900A-885855ED44FB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Obchodní tajemství</c:v>
                </c:pt>
                <c:pt idx="1">
                  <c:v>Autorská práva</c:v>
                </c:pt>
                <c:pt idx="2">
                  <c:v>Práva k databázím</c:v>
                </c:pt>
                <c:pt idx="3">
                  <c:v>Nezapsaná práva k průmyslovým vzorům</c:v>
                </c:pt>
                <c:pt idx="4">
                  <c:v>Žádné z uvedených</c:v>
                </c:pt>
                <c:pt idx="5">
                  <c:v>Nevím (bez odpovědi)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2.128</c:v>
                </c:pt>
                <c:pt idx="1">
                  <c:v>50</c:v>
                </c:pt>
                <c:pt idx="2">
                  <c:v>25.532</c:v>
                </c:pt>
                <c:pt idx="3">
                  <c:v>19.149000000000001</c:v>
                </c:pt>
                <c:pt idx="4">
                  <c:v>13.83</c:v>
                </c:pt>
                <c:pt idx="5">
                  <c:v>3.190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E87722"/>
              </a:solidFill>
            </c:spPr>
            <c:extLst>
              <c:ext xmlns:c16="http://schemas.microsoft.com/office/drawing/2014/chart" uri="{C3380CC4-5D6E-409C-BE32-E72D297353CC}">
                <c16:uniqueId val="{00000000-DA07-41C7-AB16-1565B55AE109}"/>
              </c:ext>
            </c:extLst>
          </c:dPt>
          <c:dPt>
            <c:idx val="2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0-2D0F-4A47-9F7C-B3BF477E52F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no</c:v>
                </c:pt>
                <c:pt idx="1">
                  <c:v>Ne</c:v>
                </c:pt>
                <c:pt idx="2">
                  <c:v>Nevím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0.492000000000001</c:v>
                </c:pt>
                <c:pt idx="1">
                  <c:v>58.689</c:v>
                </c:pt>
                <c:pt idx="2">
                  <c:v>1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CF-4E5A-A74E-C8A501A3E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4F-43B8-B448-F559EE4D91B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B04F-43B8-B448-F559EE4D91B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04F-43B8-B448-F559EE4D91B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04F-43B8-B448-F559EE4D91B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04F-43B8-B448-F559EE4D91B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20.408000000000001</c:v>
                </c:pt>
                <c:pt idx="1">
                  <c:v>67.346999999999994</c:v>
                </c:pt>
                <c:pt idx="2">
                  <c:v>12.244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04F-43B8-B448-F559EE4D91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10477490358815482"/>
          <c:w val="0.97882304199201853"/>
          <c:h val="0.77451625024875936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C00000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K$1</c:f>
              <c:numCache>
                <c:formatCode>General</c:formatCode>
                <c:ptCount val="10"/>
              </c:numCache>
            </c:numRef>
          </c:cat>
          <c:val>
            <c:numRef>
              <c:f>Sheet1!$B$2:$K$2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.2350000000000001</c:v>
                </c:pt>
                <c:pt idx="5">
                  <c:v>0</c:v>
                </c:pt>
                <c:pt idx="6">
                  <c:v>0</c:v>
                </c:pt>
                <c:pt idx="7">
                  <c:v>0.98</c:v>
                </c:pt>
                <c:pt idx="8">
                  <c:v>0</c:v>
                </c:pt>
                <c:pt idx="9">
                  <c:v>2.857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8F-4BD8-B21B-263A1C03A99B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993366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K$1</c:f>
              <c:numCache>
                <c:formatCode>General</c:formatCode>
                <c:ptCount val="10"/>
              </c:numCache>
            </c:numRef>
          </c:cat>
          <c:val>
            <c:numRef>
              <c:f>Sheet1!$B$3:$K$3</c:f>
              <c:numCache>
                <c:formatCode>General</c:formatCode>
                <c:ptCount val="10"/>
                <c:pt idx="0">
                  <c:v>6.5570000000000004</c:v>
                </c:pt>
                <c:pt idx="1">
                  <c:v>4.2549999999999999</c:v>
                </c:pt>
                <c:pt idx="2">
                  <c:v>5.2629999999999999</c:v>
                </c:pt>
                <c:pt idx="3">
                  <c:v>4.1669999999999998</c:v>
                </c:pt>
                <c:pt idx="4">
                  <c:v>7.407</c:v>
                </c:pt>
                <c:pt idx="5">
                  <c:v>6.944</c:v>
                </c:pt>
                <c:pt idx="6">
                  <c:v>0</c:v>
                </c:pt>
                <c:pt idx="7">
                  <c:v>8.8239999999999998</c:v>
                </c:pt>
                <c:pt idx="8">
                  <c:v>11.111000000000001</c:v>
                </c:pt>
                <c:pt idx="9">
                  <c:v>11.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8F-4BD8-B21B-263A1C03A99B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4D1901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K$1</c:f>
              <c:numCache>
                <c:formatCode>General</c:formatCode>
                <c:ptCount val="10"/>
              </c:numCache>
            </c:numRef>
          </c:cat>
          <c:val>
            <c:numRef>
              <c:f>Sheet1!$B$4:$K$4</c:f>
              <c:numCache>
                <c:formatCode>General</c:formatCode>
                <c:ptCount val="10"/>
              </c:numCache>
            </c:numRef>
          </c:val>
          <c:extLst>
            <c:ext xmlns:c16="http://schemas.microsoft.com/office/drawing/2014/chart" uri="{C3380CC4-5D6E-409C-BE32-E72D297353CC}">
              <c16:uniqueId val="{00000002-DD8F-4BD8-B21B-263A1C03A99B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008BCA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K$1</c:f>
              <c:numCache>
                <c:formatCode>General</c:formatCode>
                <c:ptCount val="10"/>
              </c:numCache>
            </c:numRef>
          </c:cat>
          <c:val>
            <c:numRef>
              <c:f>Sheet1!$B$5:$K$5</c:f>
              <c:numCache>
                <c:formatCode>General</c:formatCode>
                <c:ptCount val="10"/>
                <c:pt idx="0">
                  <c:v>22.951000000000001</c:v>
                </c:pt>
                <c:pt idx="1">
                  <c:v>29.786999999999999</c:v>
                </c:pt>
                <c:pt idx="2">
                  <c:v>28.946999999999999</c:v>
                </c:pt>
                <c:pt idx="3">
                  <c:v>33.332999999999998</c:v>
                </c:pt>
                <c:pt idx="4">
                  <c:v>29.63</c:v>
                </c:pt>
                <c:pt idx="5">
                  <c:v>33.332999999999998</c:v>
                </c:pt>
                <c:pt idx="6">
                  <c:v>42.308</c:v>
                </c:pt>
                <c:pt idx="7">
                  <c:v>34.314</c:v>
                </c:pt>
                <c:pt idx="8">
                  <c:v>37.036999999999999</c:v>
                </c:pt>
                <c:pt idx="9">
                  <c:v>34.286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D8F-4BD8-B21B-263A1C03A99B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K$1</c:f>
              <c:numCache>
                <c:formatCode>General</c:formatCode>
                <c:ptCount val="10"/>
              </c:numCache>
            </c:numRef>
          </c:cat>
          <c:val>
            <c:numRef>
              <c:f>Sheet1!$B$6:$K$6</c:f>
              <c:numCache>
                <c:formatCode>General</c:formatCode>
                <c:ptCount val="10"/>
                <c:pt idx="0">
                  <c:v>44.262</c:v>
                </c:pt>
                <c:pt idx="1">
                  <c:v>48.936</c:v>
                </c:pt>
                <c:pt idx="2">
                  <c:v>55.262999999999998</c:v>
                </c:pt>
                <c:pt idx="3">
                  <c:v>37.5</c:v>
                </c:pt>
                <c:pt idx="4">
                  <c:v>46.914000000000001</c:v>
                </c:pt>
                <c:pt idx="5">
                  <c:v>50</c:v>
                </c:pt>
                <c:pt idx="6">
                  <c:v>26.922999999999998</c:v>
                </c:pt>
                <c:pt idx="7">
                  <c:v>46.078000000000003</c:v>
                </c:pt>
                <c:pt idx="8">
                  <c:v>37.036999999999999</c:v>
                </c:pt>
                <c:pt idx="9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8F-4BD8-B21B-263A1C03A99B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DD8F-4BD8-B21B-263A1C03A99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DD8F-4BD8-B21B-263A1C03A99B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DD8F-4BD8-B21B-263A1C03A99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K$1</c:f>
              <c:numCache>
                <c:formatCode>General</c:formatCode>
                <c:ptCount val="10"/>
              </c:numCache>
            </c:numRef>
          </c:cat>
          <c:val>
            <c:numRef>
              <c:f>Sheet1!$B$7:$K$7</c:f>
              <c:numCache>
                <c:formatCode>General</c:formatCode>
                <c:ptCount val="10"/>
                <c:pt idx="0">
                  <c:v>26.23</c:v>
                </c:pt>
                <c:pt idx="1">
                  <c:v>17.021000000000001</c:v>
                </c:pt>
                <c:pt idx="2">
                  <c:v>10.526</c:v>
                </c:pt>
                <c:pt idx="3">
                  <c:v>25</c:v>
                </c:pt>
                <c:pt idx="4">
                  <c:v>14.815</c:v>
                </c:pt>
                <c:pt idx="5">
                  <c:v>9.7219999999999995</c:v>
                </c:pt>
                <c:pt idx="6">
                  <c:v>30.768999999999998</c:v>
                </c:pt>
                <c:pt idx="7">
                  <c:v>9.8040000000000003</c:v>
                </c:pt>
                <c:pt idx="8">
                  <c:v>14.815</c:v>
                </c:pt>
                <c:pt idx="9">
                  <c:v>11.4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D8F-4BD8-B21B-263A1C03A99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inMax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6E-4EB3-96A7-6F7881CE78E0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solidFill>
                  <a:srgbClr val="00B05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026E-4EB3-96A7-6F7881CE78E0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26E-4EB3-96A7-6F7881CE78E0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026E-4EB3-96A7-6F7881CE78E0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26E-4EB3-96A7-6F7881CE78E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48.624000000000002</c:v>
                </c:pt>
                <c:pt idx="1">
                  <c:v>43.119</c:v>
                </c:pt>
                <c:pt idx="2">
                  <c:v>8.256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26E-4EB3-96A7-6F7881CE78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BB-4988-AB72-34DA3590C10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BEBB-4988-AB72-34DA3590C10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EBB-4988-AB72-34DA3590C10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EBB-4988-AB72-34DA3590C10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EBB-4988-AB72-34DA3590C1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37.634</c:v>
                </c:pt>
                <c:pt idx="1">
                  <c:v>54.838999999999999</c:v>
                </c:pt>
                <c:pt idx="2">
                  <c:v>7.52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EBB-4988-AB72-34DA3590C1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42-43BF-8970-B03680F1B2A2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AF42-43BF-8970-B03680F1B2A2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F42-43BF-8970-B03680F1B2A2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F42-43BF-8970-B03680F1B2A2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F42-43BF-8970-B03680F1B2A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27.273</c:v>
                </c:pt>
                <c:pt idx="1">
                  <c:v>60.606000000000002</c:v>
                </c:pt>
                <c:pt idx="2">
                  <c:v>12.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F42-43BF-8970-B03680F1B2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5E-4272-81A4-D7C2FB893E7F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595E-4272-81A4-D7C2FB893E7F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95E-4272-81A4-D7C2FB893E7F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95E-4272-81A4-D7C2FB893E7F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95E-4272-81A4-D7C2FB893E7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30.251999999999999</c:v>
                </c:pt>
                <c:pt idx="1">
                  <c:v>60.503999999999998</c:v>
                </c:pt>
                <c:pt idx="2">
                  <c:v>9.24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95E-4272-81A4-D7C2FB893E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BB-47F3-A001-70F28273440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51BB-47F3-A001-70F28273440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1BB-47F3-A001-70F28273440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1BB-47F3-A001-70F28273440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1BB-47F3-A001-70F2827344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21.667000000000002</c:v>
                </c:pt>
                <c:pt idx="1">
                  <c:v>60</c:v>
                </c:pt>
                <c:pt idx="2">
                  <c:v>18.332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1BB-47F3-A001-70F282734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E87722"/>
              </a:solidFill>
            </c:spPr>
            <c:extLst>
              <c:ext xmlns:c16="http://schemas.microsoft.com/office/drawing/2014/chart" uri="{C3380CC4-5D6E-409C-BE32-E72D297353CC}">
                <c16:uniqueId val="{00000000-DA07-41C7-AB16-1565B55AE109}"/>
              </c:ext>
            </c:extLst>
          </c:dPt>
          <c:dPt>
            <c:idx val="2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0-2D0F-4A47-9F7C-B3BF477E52F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no</c:v>
                </c:pt>
                <c:pt idx="1">
                  <c:v>Ne</c:v>
                </c:pt>
                <c:pt idx="2">
                  <c:v>Nevím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6.066000000000003</c:v>
                </c:pt>
                <c:pt idx="1">
                  <c:v>52.459000000000003</c:v>
                </c:pt>
                <c:pt idx="2">
                  <c:v>11.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CF-4E5A-A74E-C8A501A3E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4F-43B8-B448-F559EE4D91B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B04F-43B8-B448-F559EE4D91B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04F-43B8-B448-F559EE4D91B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04F-43B8-B448-F559EE4D91B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04F-43B8-B448-F559EE4D91B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29.591999999999999</c:v>
                </c:pt>
                <c:pt idx="1">
                  <c:v>56.122</c:v>
                </c:pt>
                <c:pt idx="2">
                  <c:v>14.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04F-43B8-B448-F559EE4D91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6E-4EB3-96A7-6F7881CE78E0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solidFill>
                  <a:srgbClr val="00B05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026E-4EB3-96A7-6F7881CE78E0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26E-4EB3-96A7-6F7881CE78E0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026E-4EB3-96A7-6F7881CE78E0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26E-4EB3-96A7-6F7881CE78E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47.706000000000003</c:v>
                </c:pt>
                <c:pt idx="1">
                  <c:v>45.872</c:v>
                </c:pt>
                <c:pt idx="2">
                  <c:v>6.421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26E-4EB3-96A7-6F7881CE78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BB-4988-AB72-34DA3590C10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BEBB-4988-AB72-34DA3590C10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EBB-4988-AB72-34DA3590C10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EBB-4988-AB72-34DA3590C10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EBB-4988-AB72-34DA3590C1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37.634</c:v>
                </c:pt>
                <c:pt idx="1">
                  <c:v>50.537999999999997</c:v>
                </c:pt>
                <c:pt idx="2">
                  <c:v>11.827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EBB-4988-AB72-34DA3590C1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42-43BF-8970-B03680F1B2A2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AF42-43BF-8970-B03680F1B2A2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F42-43BF-8970-B03680F1B2A2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F42-43BF-8970-B03680F1B2A2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F42-43BF-8970-B03680F1B2A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27.273</c:v>
                </c:pt>
                <c:pt idx="1">
                  <c:v>63.636000000000003</c:v>
                </c:pt>
                <c:pt idx="2">
                  <c:v>9.090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F42-43BF-8970-B03680F1B2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1872885502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9AB5-4124-981A-D3244BD8B8F4}"/>
              </c:ext>
            </c:extLst>
          </c:dPt>
          <c:dPt>
            <c:idx val="1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Výrobky či služby, které nabízíme</c:v>
                </c:pt>
                <c:pt idx="1">
                  <c:v>Procesy</c:v>
                </c:pt>
                <c:pt idx="2">
                  <c:v>Organizační změny</c:v>
                </c:pt>
                <c:pt idx="3">
                  <c:v>Marketingové změny</c:v>
                </c:pt>
                <c:pt idx="4">
                  <c:v>Další (Uveďte, prosím, jaké)</c:v>
                </c:pt>
                <c:pt idx="5">
                  <c:v>Nevím (bez odpovědi)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6.720999999999997</c:v>
                </c:pt>
                <c:pt idx="1">
                  <c:v>45.902000000000001</c:v>
                </c:pt>
                <c:pt idx="2">
                  <c:v>45.573999999999998</c:v>
                </c:pt>
                <c:pt idx="3">
                  <c:v>28.196999999999999</c:v>
                </c:pt>
                <c:pt idx="4">
                  <c:v>1.3109999999999999</c:v>
                </c:pt>
                <c:pt idx="5">
                  <c:v>8.196999999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5E-4272-81A4-D7C2FB893E7F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595E-4272-81A4-D7C2FB893E7F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95E-4272-81A4-D7C2FB893E7F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95E-4272-81A4-D7C2FB893E7F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95E-4272-81A4-D7C2FB893E7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36.975000000000001</c:v>
                </c:pt>
                <c:pt idx="1">
                  <c:v>53.781999999999996</c:v>
                </c:pt>
                <c:pt idx="2">
                  <c:v>9.24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95E-4272-81A4-D7C2FB893E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BB-47F3-A001-70F28273440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51BB-47F3-A001-70F28273440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1BB-47F3-A001-70F28273440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1BB-47F3-A001-70F28273440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1BB-47F3-A001-70F2827344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36.667000000000002</c:v>
                </c:pt>
                <c:pt idx="1">
                  <c:v>46.667000000000002</c:v>
                </c:pt>
                <c:pt idx="2">
                  <c:v>16.667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1BB-47F3-A001-70F282734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2079028205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95-46D4-8F0D-C935CF952797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Zpětná vazba od zákazníků</c:v>
                </c:pt>
                <c:pt idx="1">
                  <c:v>Nesleduji trh</c:v>
                </c:pt>
                <c:pt idx="2">
                  <c:v>Spoléhám se na náhodné informace, které získávám od svých obchodních partnerů</c:v>
                </c:pt>
                <c:pt idx="3">
                  <c:v>Systematické monitorování zadávám specializované externí společnosti.</c:v>
                </c:pt>
                <c:pt idx="4">
                  <c:v>Spoléhám se na externí poradce</c:v>
                </c:pt>
                <c:pt idx="5">
                  <c:v>Mám osobu/oddělení, které se věnuje systematickému sledování využívání mého duševního vlastnictví.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3.115000000000002</c:v>
                </c:pt>
                <c:pt idx="1">
                  <c:v>27.541</c:v>
                </c:pt>
                <c:pt idx="2">
                  <c:v>25.574000000000002</c:v>
                </c:pt>
                <c:pt idx="3">
                  <c:v>15.738</c:v>
                </c:pt>
                <c:pt idx="4">
                  <c:v>11.475</c:v>
                </c:pt>
                <c:pt idx="5">
                  <c:v>9.507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E87722"/>
              </a:solidFill>
            </c:spPr>
            <c:extLst>
              <c:ext xmlns:c16="http://schemas.microsoft.com/office/drawing/2014/chart" uri="{C3380CC4-5D6E-409C-BE32-E72D297353CC}">
                <c16:uniqueId val="{00000000-DA07-41C7-AB16-1565B55AE109}"/>
              </c:ext>
            </c:extLst>
          </c:dPt>
          <c:dPt>
            <c:idx val="2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0-2D0F-4A47-9F7C-B3BF477E52F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no</c:v>
                </c:pt>
                <c:pt idx="1">
                  <c:v>Ne</c:v>
                </c:pt>
                <c:pt idx="2">
                  <c:v>Nevím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9.8360000000000003</c:v>
                </c:pt>
                <c:pt idx="1">
                  <c:v>75.41</c:v>
                </c:pt>
                <c:pt idx="2">
                  <c:v>14.7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CF-4E5A-A74E-C8A501A3E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4F-43B8-B448-F559EE4D91B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B04F-43B8-B448-F559EE4D91B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04F-43B8-B448-F559EE4D91B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04F-43B8-B448-F559EE4D91B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04F-43B8-B448-F559EE4D91B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9.1839999999999993</c:v>
                </c:pt>
                <c:pt idx="1">
                  <c:v>73.98</c:v>
                </c:pt>
                <c:pt idx="2">
                  <c:v>16.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04F-43B8-B448-F559EE4D91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6E-4EB3-96A7-6F7881CE78E0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solidFill>
                  <a:srgbClr val="00B05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026E-4EB3-96A7-6F7881CE78E0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26E-4EB3-96A7-6F7881CE78E0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026E-4EB3-96A7-6F7881CE78E0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26E-4EB3-96A7-6F7881CE78E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11.009</c:v>
                </c:pt>
                <c:pt idx="1">
                  <c:v>77.981999999999999</c:v>
                </c:pt>
                <c:pt idx="2">
                  <c:v>11.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26E-4EB3-96A7-6F7881CE78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BB-4988-AB72-34DA3590C10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BEBB-4988-AB72-34DA3590C10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EBB-4988-AB72-34DA3590C10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EBB-4988-AB72-34DA3590C10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EBB-4988-AB72-34DA3590C1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10.753</c:v>
                </c:pt>
                <c:pt idx="1">
                  <c:v>75.269000000000005</c:v>
                </c:pt>
                <c:pt idx="2">
                  <c:v>13.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EBB-4988-AB72-34DA3590C1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42-43BF-8970-B03680F1B2A2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AF42-43BF-8970-B03680F1B2A2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F42-43BF-8970-B03680F1B2A2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F42-43BF-8970-B03680F1B2A2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F42-43BF-8970-B03680F1B2A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15.151999999999999</c:v>
                </c:pt>
                <c:pt idx="1">
                  <c:v>69.697000000000003</c:v>
                </c:pt>
                <c:pt idx="2">
                  <c:v>15.151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F42-43BF-8970-B03680F1B2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5E-4272-81A4-D7C2FB893E7F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595E-4272-81A4-D7C2FB893E7F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95E-4272-81A4-D7C2FB893E7F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95E-4272-81A4-D7C2FB893E7F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95E-4272-81A4-D7C2FB893E7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8.4030000000000005</c:v>
                </c:pt>
                <c:pt idx="1">
                  <c:v>74.790000000000006</c:v>
                </c:pt>
                <c:pt idx="2">
                  <c:v>16.806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95E-4272-81A4-D7C2FB893E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BB-47F3-A001-70F28273440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51BB-47F3-A001-70F28273440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1BB-47F3-A001-70F28273440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1BB-47F3-A001-70F28273440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1BB-47F3-A001-70F2827344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8.3330000000000002</c:v>
                </c:pt>
                <c:pt idx="1">
                  <c:v>80</c:v>
                </c:pt>
                <c:pt idx="2">
                  <c:v>11.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1BB-47F3-A001-70F282734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1872885502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CC9-4AB8-969A-E75B86AC2431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Důvěrnost (obchodní tajemství)</c:v>
                </c:pt>
                <c:pt idx="1">
                  <c:v>Název/názvy internetové domény</c:v>
                </c:pt>
                <c:pt idx="2">
                  <c:v>Ochranná známka</c:v>
                </c:pt>
                <c:pt idx="3">
                  <c:v>Autorská práva</c:v>
                </c:pt>
                <c:pt idx="4">
                  <c:v>Design</c:v>
                </c:pt>
                <c:pt idx="5">
                  <c:v>Práva k databázím</c:v>
                </c:pt>
                <c:pt idx="6">
                  <c:v>Patent</c:v>
                </c:pt>
                <c:pt idx="7">
                  <c:v>Užitný vzor</c:v>
                </c:pt>
                <c:pt idx="8">
                  <c:v>Zeměpisné označení</c:v>
                </c:pt>
                <c:pt idx="9">
                  <c:v>Složitost konstrukce výrobku</c:v>
                </c:pt>
                <c:pt idx="10">
                  <c:v>Doba uvedení na trh</c:v>
                </c:pt>
                <c:pt idx="11">
                  <c:v>Využití mých doplňkových aktiv (výroba, realizace nebo marketing)</c:v>
                </c:pt>
                <c:pt idx="12">
                  <c:v>Šlechtitelské právo/odrůdové právo</c:v>
                </c:pt>
                <c:pt idx="13">
                  <c:v>Moje společnost nepřijímá žádná opatření na ochranu svých inovačních výstupů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32.131</c:v>
                </c:pt>
                <c:pt idx="1">
                  <c:v>28.524999999999999</c:v>
                </c:pt>
                <c:pt idx="2">
                  <c:v>26.885000000000002</c:v>
                </c:pt>
                <c:pt idx="3">
                  <c:v>20</c:v>
                </c:pt>
                <c:pt idx="4">
                  <c:v>16.721</c:v>
                </c:pt>
                <c:pt idx="5">
                  <c:v>14.098000000000001</c:v>
                </c:pt>
                <c:pt idx="6">
                  <c:v>11.148</c:v>
                </c:pt>
                <c:pt idx="7">
                  <c:v>8.1969999999999992</c:v>
                </c:pt>
                <c:pt idx="8">
                  <c:v>7.8689999999999998</c:v>
                </c:pt>
                <c:pt idx="9">
                  <c:v>6.8849999999999998</c:v>
                </c:pt>
                <c:pt idx="10">
                  <c:v>6.8849999999999998</c:v>
                </c:pt>
                <c:pt idx="11">
                  <c:v>5.2460000000000004</c:v>
                </c:pt>
                <c:pt idx="12">
                  <c:v>2.6230000000000002</c:v>
                </c:pt>
                <c:pt idx="13">
                  <c:v>17.704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E87722"/>
              </a:solidFill>
            </c:spPr>
            <c:extLst>
              <c:ext xmlns:c16="http://schemas.microsoft.com/office/drawing/2014/chart" uri="{C3380CC4-5D6E-409C-BE32-E72D297353CC}">
                <c16:uniqueId val="{00000000-DA07-41C7-AB16-1565B55AE109}"/>
              </c:ext>
            </c:extLst>
          </c:dPt>
          <c:dPt>
            <c:idx val="2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0-2D0F-4A47-9F7C-B3BF477E52F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no</c:v>
                </c:pt>
                <c:pt idx="1">
                  <c:v>Ne</c:v>
                </c:pt>
                <c:pt idx="2">
                  <c:v>Nevím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.984000000000002</c:v>
                </c:pt>
                <c:pt idx="1">
                  <c:v>74.097999999999999</c:v>
                </c:pt>
                <c:pt idx="2">
                  <c:v>4.918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CF-4E5A-A74E-C8A501A3E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4F-43B8-B448-F559EE4D91B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B04F-43B8-B448-F559EE4D91B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04F-43B8-B448-F559EE4D91B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04F-43B8-B448-F559EE4D91B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04F-43B8-B448-F559EE4D91B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12.755000000000001</c:v>
                </c:pt>
                <c:pt idx="1">
                  <c:v>81.122</c:v>
                </c:pt>
                <c:pt idx="2">
                  <c:v>6.121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04F-43B8-B448-F559EE4D91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6E-4EB3-96A7-6F7881CE78E0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solidFill>
                  <a:srgbClr val="00B05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026E-4EB3-96A7-6F7881CE78E0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26E-4EB3-96A7-6F7881CE78E0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026E-4EB3-96A7-6F7881CE78E0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26E-4EB3-96A7-6F7881CE78E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35.78</c:v>
                </c:pt>
                <c:pt idx="1">
                  <c:v>61.468000000000004</c:v>
                </c:pt>
                <c:pt idx="2">
                  <c:v>2.75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26E-4EB3-96A7-6F7881CE78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BB-4988-AB72-34DA3590C10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BEBB-4988-AB72-34DA3590C10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EBB-4988-AB72-34DA3590C10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EBB-4988-AB72-34DA3590C10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EBB-4988-AB72-34DA3590C1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24.731000000000002</c:v>
                </c:pt>
                <c:pt idx="1">
                  <c:v>73.117999999999995</c:v>
                </c:pt>
                <c:pt idx="2">
                  <c:v>2.150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EBB-4988-AB72-34DA3590C1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42-43BF-8970-B03680F1B2A2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AF42-43BF-8970-B03680F1B2A2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F42-43BF-8970-B03680F1B2A2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F42-43BF-8970-B03680F1B2A2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F42-43BF-8970-B03680F1B2A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12.121</c:v>
                </c:pt>
                <c:pt idx="1">
                  <c:v>75.757999999999996</c:v>
                </c:pt>
                <c:pt idx="2">
                  <c:v>12.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F42-43BF-8970-B03680F1B2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5E-4272-81A4-D7C2FB893E7F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595E-4272-81A4-D7C2FB893E7F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95E-4272-81A4-D7C2FB893E7F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95E-4272-81A4-D7C2FB893E7F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95E-4272-81A4-D7C2FB893E7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18.486999999999998</c:v>
                </c:pt>
                <c:pt idx="1">
                  <c:v>76.471000000000004</c:v>
                </c:pt>
                <c:pt idx="2">
                  <c:v>5.04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95E-4272-81A4-D7C2FB893E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BB-47F3-A001-70F28273440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51BB-47F3-A001-70F28273440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1BB-47F3-A001-70F28273440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1BB-47F3-A001-70F28273440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1BB-47F3-A001-70F28273440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25</c:v>
                </c:pt>
                <c:pt idx="1">
                  <c:v>70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1BB-47F3-A001-70F2827344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0989569950244104E-2"/>
          <c:y val="6.1711679675300266E-2"/>
          <c:w val="0.64995222854514467"/>
          <c:h val="0.87657664064939944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7F7F7F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0">
                  <c:v>5.2460000000000004</c:v>
                </c:pt>
                <c:pt idx="1">
                  <c:v>6.633</c:v>
                </c:pt>
                <c:pt idx="2">
                  <c:v>2.7519999999999998</c:v>
                </c:pt>
                <c:pt idx="3">
                  <c:v>3.226</c:v>
                </c:pt>
                <c:pt idx="4">
                  <c:v>15.151999999999999</c:v>
                </c:pt>
                <c:pt idx="5">
                  <c:v>1.681</c:v>
                </c:pt>
                <c:pt idx="6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70-495C-9C36-44D268E04F19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FF0000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General</c:formatCode>
                <c:ptCount val="7"/>
                <c:pt idx="0">
                  <c:v>19.672000000000001</c:v>
                </c:pt>
                <c:pt idx="1">
                  <c:v>21.939</c:v>
                </c:pt>
                <c:pt idx="2">
                  <c:v>15.596</c:v>
                </c:pt>
                <c:pt idx="3">
                  <c:v>17.204000000000001</c:v>
                </c:pt>
                <c:pt idx="4">
                  <c:v>18.181999999999999</c:v>
                </c:pt>
                <c:pt idx="5">
                  <c:v>24.37</c:v>
                </c:pt>
                <c:pt idx="6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70-495C-9C36-44D268E04F19}"/>
            </c:ext>
          </c:extLst>
        </c:ser>
        <c:ser>
          <c:idx val="1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ED6737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0">
                  <c:v>55.738</c:v>
                </c:pt>
                <c:pt idx="1">
                  <c:v>57.143000000000001</c:v>
                </c:pt>
                <c:pt idx="2">
                  <c:v>53.210999999999999</c:v>
                </c:pt>
                <c:pt idx="3">
                  <c:v>53.762999999999998</c:v>
                </c:pt>
                <c:pt idx="4">
                  <c:v>63.636000000000003</c:v>
                </c:pt>
                <c:pt idx="5">
                  <c:v>52.941000000000003</c:v>
                </c:pt>
                <c:pt idx="6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70-495C-9C36-44D268E04F19}"/>
            </c:ext>
          </c:extLst>
        </c:ser>
        <c:ser>
          <c:idx val="7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D9D9D9"/>
            </a:solidFill>
            <a:ln w="22355">
              <a:noFill/>
            </a:ln>
          </c:spPr>
          <c:invertIfNegative val="0"/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3-FD70-495C-9C36-44D268E04F19}"/>
            </c:ext>
          </c:extLst>
        </c:ser>
        <c:ser>
          <c:idx val="8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008BCA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  <c:pt idx="0">
                  <c:v>4.2619999999999996</c:v>
                </c:pt>
                <c:pt idx="1">
                  <c:v>5.1020000000000003</c:v>
                </c:pt>
                <c:pt idx="2">
                  <c:v>2.7519999999999998</c:v>
                </c:pt>
                <c:pt idx="3">
                  <c:v>4.3010000000000002</c:v>
                </c:pt>
                <c:pt idx="4">
                  <c:v>0</c:v>
                </c:pt>
                <c:pt idx="5">
                  <c:v>4.202</c:v>
                </c:pt>
                <c:pt idx="6">
                  <c:v>6.666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D70-495C-9C36-44D268E04F19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dLbl>
              <c:idx val="2"/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lang="en-US" sz="1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Arial"/>
                        <a:cs typeface="Arial"/>
                      </a:defRPr>
                    </a:pPr>
                    <a:fld id="{B61B690A-664C-46C5-810A-5ED6198B11F5}" type="VALUE">
                      <a:rPr lang="en-US" sz="1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Arial"/>
                        <a:cs typeface="Arial"/>
                      </a:rPr>
                      <a:pPr algn="ctr">
                        <a:defRPr lang="en-US" sz="1100" b="0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Arial"/>
                          <a:cs typeface="Arial"/>
                        </a:defRPr>
                      </a:pPr>
                      <a:t>[HODNOTA]</a:t>
                    </a:fld>
                    <a:endParaRPr lang="cs-CZ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D70-495C-9C36-44D268E04F1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7:$H$7</c:f>
              <c:numCache>
                <c:formatCode>General</c:formatCode>
                <c:ptCount val="7"/>
                <c:pt idx="0">
                  <c:v>15.082000000000001</c:v>
                </c:pt>
                <c:pt idx="1">
                  <c:v>9.1839999999999993</c:v>
                </c:pt>
                <c:pt idx="2">
                  <c:v>25.687999999999999</c:v>
                </c:pt>
                <c:pt idx="3">
                  <c:v>21.504999999999999</c:v>
                </c:pt>
                <c:pt idx="4">
                  <c:v>3.03</c:v>
                </c:pt>
                <c:pt idx="5">
                  <c:v>16.806999999999999</c:v>
                </c:pt>
                <c:pt idx="6">
                  <c:v>8.333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D70-495C-9C36-44D268E04F19}"/>
            </c:ext>
          </c:extLst>
        </c:ser>
        <c:ser>
          <c:idx val="0"/>
          <c:order val="6"/>
          <c:tx>
            <c:strRef>
              <c:f>Sheet1!$A$8</c:f>
              <c:strCache>
                <c:ptCount val="1"/>
                <c:pt idx="0">
                  <c:v>box</c:v>
                </c:pt>
              </c:strCache>
            </c:strRef>
          </c:tx>
          <c:invertIfNegative val="0"/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8:$H$8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7-FD70-495C-9C36-44D268E04F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8"/>
        <c:overlap val="100"/>
        <c:axId val="185115120"/>
        <c:axId val="185114728"/>
      </c:barChart>
      <c:catAx>
        <c:axId val="1851151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8511472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85114728"/>
        <c:scaling>
          <c:orientation val="minMax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185115120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2">
    <c:autoUpdate val="0"/>
  </c:externalData>
  <c:userShapes r:id="rId3"/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2079028205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95-46D4-8F0D-C935CF952797}"/>
              </c:ext>
            </c:extLst>
          </c:dPt>
          <c:dPt>
            <c:idx val="9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7AB-4982-9AF1-DA526116AE7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Národní ochranné známky</c:v>
                </c:pt>
                <c:pt idx="1">
                  <c:v>Ochranné známky EU</c:v>
                </c:pt>
                <c:pt idx="2">
                  <c:v>Užitné vzory</c:v>
                </c:pt>
                <c:pt idx="3">
                  <c:v>Patenty</c:v>
                </c:pt>
                <c:pt idx="4">
                  <c:v>Národní zapsané průmyslové vzory</c:v>
                </c:pt>
                <c:pt idx="5">
                  <c:v>Další ochranná opatření, např. doménová jména</c:v>
                </c:pt>
                <c:pt idx="6">
                  <c:v>Zapsané průmyslové vzory Společenství</c:v>
                </c:pt>
                <c:pt idx="7">
                  <c:v>Šlechtitelská práva/odrůdová práva</c:v>
                </c:pt>
                <c:pt idx="8">
                  <c:v>Odborníka jsme nevyužili</c:v>
                </c:pt>
                <c:pt idx="9">
                  <c:v>Nevím (bez odpovědi)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43.616999999999997</c:v>
                </c:pt>
                <c:pt idx="1">
                  <c:v>39.362000000000002</c:v>
                </c:pt>
                <c:pt idx="2">
                  <c:v>36.17</c:v>
                </c:pt>
                <c:pt idx="3">
                  <c:v>27.66</c:v>
                </c:pt>
                <c:pt idx="4">
                  <c:v>14.894</c:v>
                </c:pt>
                <c:pt idx="5">
                  <c:v>7.4470000000000001</c:v>
                </c:pt>
                <c:pt idx="6">
                  <c:v>5.319</c:v>
                </c:pt>
                <c:pt idx="7">
                  <c:v>3.1909999999999998</c:v>
                </c:pt>
                <c:pt idx="8">
                  <c:v>2.1280000000000001</c:v>
                </c:pt>
                <c:pt idx="9">
                  <c:v>1.06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2079028205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95-46D4-8F0D-C935CF952797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Pomáhá mi to zabránit ostatním v kopírování mých řešení, výrobků nebo služeb</c:v>
                </c:pt>
                <c:pt idx="1">
                  <c:v>Zaručuje to lepší právní jistotu ohledně rozsahu ochrany</c:v>
                </c:pt>
                <c:pt idx="2">
                  <c:v>Zvyšuje to šance na účinné vymáhání práv</c:v>
                </c:pt>
                <c:pt idx="3">
                  <c:v>Zvyšuje to hodnotu a image mé společnosti</c:v>
                </c:pt>
                <c:pt idx="4">
                  <c:v>Zvyšuje to šance na financování</c:v>
                </c:pt>
                <c:pt idx="5">
                  <c:v>Je to běžná praxe mezi firmami, se kterými jednám</c:v>
                </c:pt>
                <c:pt idx="6">
                  <c:v>Zlepšuje to mou vyjednávací pozici s ostatními firmami a institucemi</c:v>
                </c:pt>
                <c:pt idx="7">
                  <c:v>Získáváme díky tomu příjmy z licencí</c:v>
                </c:pt>
                <c:pt idx="8">
                  <c:v>Nevím (bez odpovědi)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0</c:v>
                </c:pt>
                <c:pt idx="1">
                  <c:v>48.936</c:v>
                </c:pt>
                <c:pt idx="2">
                  <c:v>47.872</c:v>
                </c:pt>
                <c:pt idx="3">
                  <c:v>27.66</c:v>
                </c:pt>
                <c:pt idx="4">
                  <c:v>23.404</c:v>
                </c:pt>
                <c:pt idx="5">
                  <c:v>22.34</c:v>
                </c:pt>
                <c:pt idx="6">
                  <c:v>22.34</c:v>
                </c:pt>
                <c:pt idx="7">
                  <c:v>8.5109999999999992</c:v>
                </c:pt>
                <c:pt idx="8">
                  <c:v>1.06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2.381</c:v>
                </c:pt>
                <c:pt idx="1">
                  <c:v>41.176000000000002</c:v>
                </c:pt>
                <c:pt idx="2">
                  <c:v>38.094999999999999</c:v>
                </c:pt>
                <c:pt idx="3">
                  <c:v>36.734999999999999</c:v>
                </c:pt>
                <c:pt idx="4">
                  <c:v>34.426000000000002</c:v>
                </c:pt>
                <c:pt idx="5">
                  <c:v>33.332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E6-48A3-BAAA-5F179B707487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42.856999999999999</c:v>
                </c:pt>
                <c:pt idx="1">
                  <c:v>55.881999999999998</c:v>
                </c:pt>
                <c:pt idx="2">
                  <c:v>52.381</c:v>
                </c:pt>
                <c:pt idx="3">
                  <c:v>53.061</c:v>
                </c:pt>
                <c:pt idx="4">
                  <c:v>57.377000000000002</c:v>
                </c:pt>
                <c:pt idx="5">
                  <c:v>66.667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E6-48A3-BAAA-5F179B707487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4D1901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A0E6-48A3-BAAA-5F179B707487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008BCA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3-A0E6-48A3-BAAA-5F179B707487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993366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6:$G$6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4-A0E6-48A3-BAAA-5F179B707487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C00000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0E6-48A3-BAAA-5F179B70748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0E6-48A3-BAAA-5F179B70748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0E6-48A3-BAAA-5F179B707487}"/>
              </c:ext>
            </c:extLst>
          </c:dPt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DF1-45C3-A340-4D44F40555E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7:$G$7</c:f>
              <c:numCache>
                <c:formatCode>General</c:formatCode>
                <c:ptCount val="6"/>
                <c:pt idx="0">
                  <c:v>4.7619999999999996</c:v>
                </c:pt>
                <c:pt idx="1">
                  <c:v>2.9409999999999998</c:v>
                </c:pt>
                <c:pt idx="2">
                  <c:v>9.5239999999999991</c:v>
                </c:pt>
                <c:pt idx="3">
                  <c:v>10.204000000000001</c:v>
                </c:pt>
                <c:pt idx="4">
                  <c:v>8.1969999999999992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0E6-48A3-BAAA-5F179B7074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axMin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2079028205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995-46D4-8F0D-C935CF952797}"/>
              </c:ext>
            </c:extLst>
          </c:dPt>
          <c:dPt>
            <c:idx val="9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7AB-4982-9AF1-DA526116AE7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Pomocí externího soukromého poradce</c:v>
                </c:pt>
                <c:pt idx="1">
                  <c:v>Na internetu</c:v>
                </c:pt>
                <c:pt idx="2">
                  <c:v>Úřad průmyslového vlastnictví (včetně jejich helpdesku)</c:v>
                </c:pt>
                <c:pt idx="3">
                  <c:v>Skrze obchodní komoru</c:v>
                </c:pt>
                <c:pt idx="4">
                  <c:v>S pomocí helpdesku EU pro práva duševního vlastnictví</c:v>
                </c:pt>
                <c:pt idx="5">
                  <c:v>EU a mezinárodní úřady duševního vlastnictví (Světová organizace duševního vlastnictví, Evropský patentový úřad, Úřad Evropské unie pro duševní vlastnictví)</c:v>
                </c:pt>
                <c:pt idx="6">
                  <c:v>Odvětvové federace nebo profesní sdružení</c:v>
                </c:pt>
                <c:pt idx="7">
                  <c:v>Další vládní organizace</c:v>
                </c:pt>
                <c:pt idx="8">
                  <c:v>Jinde (uveďte, prosím, kde)</c:v>
                </c:pt>
                <c:pt idx="9">
                  <c:v>Nikde jsme informace k registraci duševního vlastnictví nehledali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47.872</c:v>
                </c:pt>
                <c:pt idx="1">
                  <c:v>41.488999999999997</c:v>
                </c:pt>
                <c:pt idx="2">
                  <c:v>36.17</c:v>
                </c:pt>
                <c:pt idx="3">
                  <c:v>28.722999999999999</c:v>
                </c:pt>
                <c:pt idx="4">
                  <c:v>15.957000000000001</c:v>
                </c:pt>
                <c:pt idx="5">
                  <c:v>10.638</c:v>
                </c:pt>
                <c:pt idx="6">
                  <c:v>5.319</c:v>
                </c:pt>
                <c:pt idx="7">
                  <c:v>4.2549999999999999</c:v>
                </c:pt>
                <c:pt idx="8">
                  <c:v>2.1280000000000001</c:v>
                </c:pt>
                <c:pt idx="9">
                  <c:v>2.128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4.286</c:v>
                </c:pt>
                <c:pt idx="1">
                  <c:v>9.7560000000000002</c:v>
                </c:pt>
                <c:pt idx="2">
                  <c:v>14.815</c:v>
                </c:pt>
                <c:pt idx="3">
                  <c:v>8.1080000000000005</c:v>
                </c:pt>
                <c:pt idx="4">
                  <c:v>8.3330000000000002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E6-48A3-BAAA-5F179B707487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71.429000000000002</c:v>
                </c:pt>
                <c:pt idx="1">
                  <c:v>43.902000000000001</c:v>
                </c:pt>
                <c:pt idx="2">
                  <c:v>37.036999999999999</c:v>
                </c:pt>
                <c:pt idx="3">
                  <c:v>43.243000000000002</c:v>
                </c:pt>
                <c:pt idx="4">
                  <c:v>41.667000000000002</c:v>
                </c:pt>
                <c:pt idx="5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E6-48A3-BAAA-5F179B707487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4D1901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A0E6-48A3-BAAA-5F179B707487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chemeClr val="bg1">
                <a:lumMod val="50000"/>
              </a:schemeClr>
            </a:solidFill>
            <a:ln w="22355">
              <a:noFill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126-4FB4-83BE-3A876E7B02E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126-4FB4-83BE-3A876E7B02E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126-4FB4-83BE-3A876E7B02EE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126-4FB4-83BE-3A876E7B02EE}"/>
                </c:ext>
              </c:extLst>
            </c:dLbl>
            <c:numFmt formatCode="#,##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7.1429999999999998</c:v>
                </c:pt>
                <c:pt idx="1">
                  <c:v>0</c:v>
                </c:pt>
                <c:pt idx="2">
                  <c:v>0</c:v>
                </c:pt>
                <c:pt idx="3">
                  <c:v>5.4050000000000002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E6-48A3-BAAA-5F179B707487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993366"/>
            </a:solidFill>
            <a:ln w="22355">
              <a:noFill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126-4FB4-83BE-3A876E7B02E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6:$G$6</c:f>
              <c:numCache>
                <c:formatCode>General</c:formatCode>
                <c:ptCount val="6"/>
                <c:pt idx="0">
                  <c:v>0</c:v>
                </c:pt>
                <c:pt idx="1">
                  <c:v>31.707000000000001</c:v>
                </c:pt>
                <c:pt idx="2">
                  <c:v>33.332999999999998</c:v>
                </c:pt>
                <c:pt idx="3">
                  <c:v>29.73</c:v>
                </c:pt>
                <c:pt idx="4">
                  <c:v>36.110999999999997</c:v>
                </c:pt>
                <c:pt idx="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E6-48A3-BAAA-5F179B707487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C00000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0E6-48A3-BAAA-5F179B70748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0E6-48A3-BAAA-5F179B70748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0E6-48A3-BAAA-5F179B707487}"/>
              </c:ext>
            </c:extLst>
          </c:dPt>
          <c:dLbls>
            <c:dLbl>
              <c:idx val="0"/>
              <c:layout>
                <c:manualLayout>
                  <c:x val="0"/>
                  <c:y val="-3.658726317245194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0E6-48A3-BAAA-5F179B70748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7:$G$7</c:f>
              <c:numCache>
                <c:formatCode>General</c:formatCode>
                <c:ptCount val="6"/>
                <c:pt idx="0">
                  <c:v>7.1429999999999998</c:v>
                </c:pt>
                <c:pt idx="1">
                  <c:v>14.634</c:v>
                </c:pt>
                <c:pt idx="2">
                  <c:v>14.815</c:v>
                </c:pt>
                <c:pt idx="3">
                  <c:v>13.513999999999999</c:v>
                </c:pt>
                <c:pt idx="4">
                  <c:v>13.888999999999999</c:v>
                </c:pt>
                <c:pt idx="5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0E6-48A3-BAAA-5F179B7074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axMin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2079028205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995-46D4-8F0D-C935CF952797}"/>
              </c:ext>
            </c:extLst>
          </c:dPt>
          <c:dPt>
            <c:idx val="9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AB86-4F71-B18A-B263E9D47BD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Trvalo příliš dlouho, než mi byla duševní práva zaregistrována</c:v>
                </c:pt>
                <c:pt idx="1">
                  <c:v>Nedostatečné znalosti/nevěděl jsem, kam se obrátit</c:v>
                </c:pt>
                <c:pt idx="2">
                  <c:v>Nedostatečné pokyny</c:v>
                </c:pt>
                <c:pt idx="3">
                  <c:v>Obtížný postup</c:v>
                </c:pt>
                <c:pt idx="4">
                  <c:v>Nákladný postup</c:v>
                </c:pt>
                <c:pt idx="5">
                  <c:v>Neplatnost žádosti (rozpor s dřívějším právem soutěžitele)</c:v>
                </c:pt>
                <c:pt idx="6">
                  <c:v>Odmítnutí registrace ze strany Úřadu průmyslového vlastnictví</c:v>
                </c:pt>
                <c:pt idx="7">
                  <c:v>Absence novosti, vynálezecké činnosti, individuální povahy, rozlišovací způsobilosti</c:v>
                </c:pt>
                <c:pt idx="8">
                  <c:v>Jiné (uveďte, prosím, jaké)</c:v>
                </c:pt>
                <c:pt idx="9">
                  <c:v>Nevyskytly se žádné obtíže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38.298000000000002</c:v>
                </c:pt>
                <c:pt idx="1">
                  <c:v>34.042999999999999</c:v>
                </c:pt>
                <c:pt idx="2">
                  <c:v>27.66</c:v>
                </c:pt>
                <c:pt idx="3">
                  <c:v>27.66</c:v>
                </c:pt>
                <c:pt idx="4">
                  <c:v>24.468</c:v>
                </c:pt>
                <c:pt idx="5">
                  <c:v>9.5739999999999998</c:v>
                </c:pt>
                <c:pt idx="6">
                  <c:v>7.4470000000000001</c:v>
                </c:pt>
                <c:pt idx="7">
                  <c:v>2.1280000000000001</c:v>
                </c:pt>
                <c:pt idx="8">
                  <c:v>1.0640000000000001</c:v>
                </c:pt>
                <c:pt idx="9">
                  <c:v>15.957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numFmt formatCode="#,##0&quot;%&quot;;\-#,##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0-A0E6-48A3-BAAA-5F179B707487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#,##0&quot;%&quot;;\-#,##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1-A0E6-48A3-BAAA-5F179B707487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4D1901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2-A0E6-48A3-BAAA-5F179B707487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5:$D$5</c:f>
              <c:numCache>
                <c:formatCode>General</c:formatCode>
                <c:ptCount val="3"/>
                <c:pt idx="0">
                  <c:v>22.34</c:v>
                </c:pt>
                <c:pt idx="1">
                  <c:v>12.195</c:v>
                </c:pt>
                <c:pt idx="2">
                  <c:v>30.1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E6-48A3-BAAA-5F179B707487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6:$D$6</c:f>
              <c:numCache>
                <c:formatCode>General</c:formatCode>
                <c:ptCount val="3"/>
                <c:pt idx="0">
                  <c:v>59.573999999999998</c:v>
                </c:pt>
                <c:pt idx="1">
                  <c:v>65.853999999999999</c:v>
                </c:pt>
                <c:pt idx="2">
                  <c:v>54.716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E6-48A3-BAAA-5F179B707487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7F7F7F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0E6-48A3-BAAA-5F179B70748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0E6-48A3-BAAA-5F179B70748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0E6-48A3-BAAA-5F179B707487}"/>
              </c:ext>
            </c:extLst>
          </c:dPt>
          <c:dLbls>
            <c:dLbl>
              <c:idx val="0"/>
              <c:layout>
                <c:manualLayout>
                  <c:x val="0"/>
                  <c:y val="-3.658726317245194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0E6-48A3-BAAA-5F179B70748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7:$D$7</c:f>
              <c:numCache>
                <c:formatCode>General</c:formatCode>
                <c:ptCount val="3"/>
                <c:pt idx="0">
                  <c:v>18.085000000000001</c:v>
                </c:pt>
                <c:pt idx="1">
                  <c:v>21.951000000000001</c:v>
                </c:pt>
                <c:pt idx="2">
                  <c:v>15.093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0E6-48A3-BAAA-5F179B7074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axMin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2079028205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995-46D4-8F0D-C935CF952797}"/>
              </c:ext>
            </c:extLst>
          </c:dPt>
          <c:dPt>
            <c:idx val="9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AB86-4F71-B18A-B263E9D47BD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Zvýšená pověst nebo image spolehlivosti</c:v>
                </c:pt>
                <c:pt idx="1">
                  <c:v>Zvýšení obratu</c:v>
                </c:pt>
                <c:pt idx="2">
                  <c:v>Rozšíření trhů</c:v>
                </c:pt>
                <c:pt idx="3">
                  <c:v>Zvýšení ziskovosti</c:v>
                </c:pt>
                <c:pt idx="4">
                  <c:v>Posílení dlouhodobých obchodních vyhlídek</c:v>
                </c:pt>
                <c:pt idx="5">
                  <c:v>Snadnější přístup k financování</c:v>
                </c:pt>
                <c:pt idx="6">
                  <c:v>Nové možnosti spolupráce s jinými společnostmi</c:v>
                </c:pt>
                <c:pt idx="7">
                  <c:v>Zvýšení zaměstnanosti</c:v>
                </c:pt>
                <c:pt idx="8">
                  <c:v>Jiné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57.143000000000001</c:v>
                </c:pt>
                <c:pt idx="1">
                  <c:v>53.247</c:v>
                </c:pt>
                <c:pt idx="2">
                  <c:v>41.558</c:v>
                </c:pt>
                <c:pt idx="3">
                  <c:v>35.064999999999998</c:v>
                </c:pt>
                <c:pt idx="4">
                  <c:v>22.077999999999999</c:v>
                </c:pt>
                <c:pt idx="5">
                  <c:v>19.481000000000002</c:v>
                </c:pt>
                <c:pt idx="6">
                  <c:v>18.181999999999999</c:v>
                </c:pt>
                <c:pt idx="7">
                  <c:v>7.7919999999999998</c:v>
                </c:pt>
                <c:pt idx="8">
                  <c:v>2.5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2079028205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 posledních 6 měsících</c:v>
                </c:pt>
                <c:pt idx="1">
                  <c:v>Během posledního roku</c:v>
                </c:pt>
                <c:pt idx="2">
                  <c:v>Za posledních 5 let</c:v>
                </c:pt>
                <c:pt idx="3">
                  <c:v>Před více než 5 lety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.638</c:v>
                </c:pt>
                <c:pt idx="1">
                  <c:v>37.234000000000002</c:v>
                </c:pt>
                <c:pt idx="2">
                  <c:v>40.426000000000002</c:v>
                </c:pt>
                <c:pt idx="3">
                  <c:v>11.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2079028205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995-46D4-8F0D-C935CF95279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86-4F71-B18A-B263E9D47BD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2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6ABF-4DBE-879F-704DFA41CB83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Nemyslím si, že mé duševní vlastnictví splňovalo požadavky předpisů o právech duševního vlastnictví</c:v>
                </c:pt>
                <c:pt idx="1">
                  <c:v>Domnívám se, že mé duševní vlastnictví nebylo dostatečně inovativní</c:v>
                </c:pt>
                <c:pt idx="2">
                  <c:v>Nemám dostatečné znalosti o registrovaných právech duševního vlastnictví</c:v>
                </c:pt>
                <c:pt idx="3">
                  <c:v>Bylo to příliš zatěžující</c:v>
                </c:pt>
                <c:pt idx="4">
                  <c:v>Bylo to příliš nákladné</c:v>
                </c:pt>
                <c:pt idx="5">
                  <c:v>Domnívám se, že z formální ochrany práv duševního vlastnictví neplynou žádné další výhody</c:v>
                </c:pt>
                <c:pt idx="6">
                  <c:v>Chtěl/a bych, aby byla dostupná komukoli</c:v>
                </c:pt>
                <c:pt idx="7">
                  <c:v>Chráněn neformálně pomocí neregistrovaných práv duševního vlastnictví (obchodní tajemství, autorská práva atd.).</c:v>
                </c:pt>
                <c:pt idx="8">
                  <c:v>Práva duševního vlastnictví nebyla pro mé inovační kroky obvykle k dispozici nebo byl jejich rozsah pro mé potřeby příliš úzký</c:v>
                </c:pt>
                <c:pt idx="9">
                  <c:v>Postupy spojené s registrací práv duševního vlastnictví by příliš zdržovaly uvedení mého výrobku/služby na trh</c:v>
                </c:pt>
                <c:pt idx="10">
                  <c:v>Potenciální obtíže při prosazování práv duševního vlastnictví/potenciální náklady na soudní spory</c:v>
                </c:pt>
                <c:pt idx="11">
                  <c:v>Jiný</c:v>
                </c:pt>
                <c:pt idx="12">
                  <c:v>Nevím 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31.550999999999998</c:v>
                </c:pt>
                <c:pt idx="1">
                  <c:v>22.995000000000001</c:v>
                </c:pt>
                <c:pt idx="2">
                  <c:v>14.973000000000001</c:v>
                </c:pt>
                <c:pt idx="3">
                  <c:v>13.369</c:v>
                </c:pt>
                <c:pt idx="4">
                  <c:v>12.298999999999999</c:v>
                </c:pt>
                <c:pt idx="5">
                  <c:v>8.0210000000000008</c:v>
                </c:pt>
                <c:pt idx="6">
                  <c:v>8.0210000000000008</c:v>
                </c:pt>
                <c:pt idx="7">
                  <c:v>6.952</c:v>
                </c:pt>
                <c:pt idx="8">
                  <c:v>5.3479999999999999</c:v>
                </c:pt>
                <c:pt idx="9">
                  <c:v>4.8129999999999997</c:v>
                </c:pt>
                <c:pt idx="10">
                  <c:v>4.2779999999999996</c:v>
                </c:pt>
                <c:pt idx="11">
                  <c:v>4.2779999999999996</c:v>
                </c:pt>
                <c:pt idx="12">
                  <c:v>9.625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E87722"/>
              </a:solidFill>
            </c:spPr>
            <c:extLst>
              <c:ext xmlns:c16="http://schemas.microsoft.com/office/drawing/2014/chart" uri="{C3380CC4-5D6E-409C-BE32-E72D297353CC}">
                <c16:uniqueId val="{00000000-DA07-41C7-AB16-1565B55AE109}"/>
              </c:ext>
            </c:extLst>
          </c:dPt>
          <c:dPt>
            <c:idx val="2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0-2D0F-4A47-9F7C-B3BF477E52F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no</c:v>
                </c:pt>
                <c:pt idx="1">
                  <c:v>Ne</c:v>
                </c:pt>
                <c:pt idx="2">
                  <c:v>Nevím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4</c:v>
                </c:pt>
                <c:pt idx="1">
                  <c:v>82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CF-4E5A-A74E-C8A501A3E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4F-43B8-B448-F559EE4D91B4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B04F-43B8-B448-F559EE4D91B4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04F-43B8-B448-F559EE4D91B4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04F-43B8-B448-F559EE4D91B4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04F-43B8-B448-F559EE4D91B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14.493</c:v>
                </c:pt>
                <c:pt idx="1">
                  <c:v>81.159000000000006</c:v>
                </c:pt>
                <c:pt idx="2">
                  <c:v>4.34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04F-43B8-B448-F559EE4D91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6E-4EB3-96A7-6F7881CE78E0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2-026E-4EB3-96A7-6F7881CE78E0}"/>
              </c:ext>
            </c:extLst>
          </c:dPt>
          <c:dPt>
            <c:idx val="1"/>
            <c:bubble3D val="0"/>
            <c:spPr>
              <a:solidFill>
                <a:srgbClr val="E877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26E-4EB3-96A7-6F7881CE78E0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026E-4EB3-96A7-6F7881CE78E0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26E-4EB3-96A7-6F7881CE78E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14.286</c:v>
                </c:pt>
                <c:pt idx="1">
                  <c:v>83.673000000000002</c:v>
                </c:pt>
                <c:pt idx="2">
                  <c:v>2.040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26E-4EB3-96A7-6F7881CE78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4F-4A1A-AB16-8F958DBDABB2}"/>
                </c:ext>
              </c:extLst>
            </c:dLbl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7.907</c:v>
                </c:pt>
                <c:pt idx="1">
                  <c:v>25.49</c:v>
                </c:pt>
                <c:pt idx="2">
                  <c:v>25.286999999999999</c:v>
                </c:pt>
                <c:pt idx="3">
                  <c:v>24.39</c:v>
                </c:pt>
                <c:pt idx="4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8F-4BD8-B21B-263A1C03A99B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48.837000000000003</c:v>
                </c:pt>
                <c:pt idx="1">
                  <c:v>66.667000000000002</c:v>
                </c:pt>
                <c:pt idx="2">
                  <c:v>51.723999999999997</c:v>
                </c:pt>
                <c:pt idx="3">
                  <c:v>53.658999999999999</c:v>
                </c:pt>
                <c:pt idx="4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8F-4BD8-B21B-263A1C03A99B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4D1901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DD8F-4BD8-B21B-263A1C03A99B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008BCA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3-DD8F-4BD8-B21B-263A1C03A99B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993366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6:$G$6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4-DD8F-4BD8-B21B-263A1C03A99B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C00000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DD8F-4BD8-B21B-263A1C03A99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DD8F-4BD8-B21B-263A1C03A99B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DD8F-4BD8-B21B-263A1C03A99B}"/>
              </c:ext>
            </c:extLst>
          </c:dPt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C4F-4A1A-AB16-8F958DBDABB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7:$G$7</c:f>
              <c:numCache>
                <c:formatCode>General</c:formatCode>
                <c:ptCount val="6"/>
                <c:pt idx="0">
                  <c:v>23.256</c:v>
                </c:pt>
                <c:pt idx="1">
                  <c:v>7.843</c:v>
                </c:pt>
                <c:pt idx="2">
                  <c:v>22.989000000000001</c:v>
                </c:pt>
                <c:pt idx="3">
                  <c:v>21.951000000000001</c:v>
                </c:pt>
                <c:pt idx="4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D8F-4BD8-B21B-263A1C03A99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axMin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2079028205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AAD-4704-AD95-DE3359B2DFD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995-46D4-8F0D-C935CF952797}"/>
              </c:ext>
            </c:extLst>
          </c:dPt>
          <c:dPt>
            <c:idx val="9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AB86-4F71-B18A-B263E9D47BDC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A17-44EF-91A1-D2B6D88B970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Kdyby byl proces srozumitelnější</c:v>
                </c:pt>
                <c:pt idx="1">
                  <c:v>Kdyby byla registrace snadněji dostupná</c:v>
                </c:pt>
                <c:pt idx="2">
                  <c:v>Kdybych si mohl/a být jistý/á dostatečnou ochranou</c:v>
                </c:pt>
                <c:pt idx="3">
                  <c:v>Pokud by bylo levnější registrovat, udržovat nebo obnovovat práva duševního vlastnictví</c:v>
                </c:pt>
                <c:pt idx="4">
                  <c:v>Kdybych měl/a více znalostí/pochopení toho, co je duševní vlastnictví.</c:v>
                </c:pt>
                <c:pt idx="5">
                  <c:v>Kdyby bylo snazší podniknout právní kroky proti porušovatelům práv a získat odpovídající odškodnění a jiné prostředky nápravy</c:v>
                </c:pt>
                <c:pt idx="6">
                  <c:v>Nikdy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24.599</c:v>
                </c:pt>
                <c:pt idx="1">
                  <c:v>21.39</c:v>
                </c:pt>
                <c:pt idx="2">
                  <c:v>19.786000000000001</c:v>
                </c:pt>
                <c:pt idx="3">
                  <c:v>16.577999999999999</c:v>
                </c:pt>
                <c:pt idx="4">
                  <c:v>15.507999999999999</c:v>
                </c:pt>
                <c:pt idx="5">
                  <c:v>12.298999999999999</c:v>
                </c:pt>
                <c:pt idx="6">
                  <c:v>20.856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  <c:pt idx="0">
                  <c:v>0.53500000000000003</c:v>
                </c:pt>
                <c:pt idx="1">
                  <c:v>0.72499999999999998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E6-48A3-BAAA-5F179B707487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General</c:formatCode>
                <c:ptCount val="3"/>
                <c:pt idx="0">
                  <c:v>6.952</c:v>
                </c:pt>
                <c:pt idx="1">
                  <c:v>5.7969999999999997</c:v>
                </c:pt>
                <c:pt idx="2">
                  <c:v>10.204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E6-48A3-BAAA-5F179B707487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4D1901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2-A0E6-48A3-BAAA-5F179B707487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7F7F7F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5:$D$5</c:f>
              <c:numCache>
                <c:formatCode>General</c:formatCode>
                <c:ptCount val="3"/>
                <c:pt idx="0">
                  <c:v>85.025999999999996</c:v>
                </c:pt>
                <c:pt idx="1">
                  <c:v>86.231999999999999</c:v>
                </c:pt>
                <c:pt idx="2">
                  <c:v>81.632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E6-48A3-BAAA-5F179B707487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993366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6:$D$6</c:f>
              <c:numCache>
                <c:formatCode>General</c:formatCode>
                <c:ptCount val="3"/>
                <c:pt idx="0">
                  <c:v>7.4870000000000001</c:v>
                </c:pt>
                <c:pt idx="1">
                  <c:v>7.2460000000000004</c:v>
                </c:pt>
                <c:pt idx="2">
                  <c:v>8.163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E6-48A3-BAAA-5F179B707487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7F7F7F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0E6-48A3-BAAA-5F179B70748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0E6-48A3-BAAA-5F179B70748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0E6-48A3-BAAA-5F179B707487}"/>
              </c:ext>
            </c:extLst>
          </c:dPt>
          <c:dLbls>
            <c:dLbl>
              <c:idx val="0"/>
              <c:layout>
                <c:manualLayout>
                  <c:x val="0"/>
                  <c:y val="-3.658726317245194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0E6-48A3-BAAA-5F179B707487}"/>
                </c:ext>
              </c:extLst>
            </c:dLbl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7:$D$7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8-A0E6-48A3-BAAA-5F179B7074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axMin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498764278793713"/>
          <c:y val="0.12175827559274828"/>
          <c:w val="0.66707138294789148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irma</c:v>
                </c:pt>
              </c:strCache>
            </c:strRef>
          </c:tx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ýroba/průmysl</c:v>
                </c:pt>
                <c:pt idx="1">
                  <c:v>Obchod</c:v>
                </c:pt>
                <c:pt idx="2">
                  <c:v>Služby</c:v>
                </c:pt>
                <c:pt idx="3">
                  <c:v>Ostatní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30.491803278688522</c:v>
                </c:pt>
                <c:pt idx="1">
                  <c:v>10.819672131147541</c:v>
                </c:pt>
                <c:pt idx="2">
                  <c:v>39.016393442622949</c:v>
                </c:pt>
                <c:pt idx="3">
                  <c:v>19.672131147540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4DD-481A-ACEF-75A4AF8377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80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796284268115894"/>
          <c:y val="0.12175827559274828"/>
          <c:w val="0.61023707278111516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4 až 9 zaměstnanců</c:v>
                </c:pt>
                <c:pt idx="1">
                  <c:v>10 až 24 zaměstnanců</c:v>
                </c:pt>
                <c:pt idx="2">
                  <c:v>25 až 49 zaměstnanců</c:v>
                </c:pt>
                <c:pt idx="3">
                  <c:v>50 až 99 zaměstnanců</c:v>
                </c:pt>
                <c:pt idx="4">
                  <c:v>100 až 249 zaměstnanců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1.311</c:v>
                </c:pt>
                <c:pt idx="1">
                  <c:v>23.934000000000001</c:v>
                </c:pt>
                <c:pt idx="2">
                  <c:v>19.015999999999998</c:v>
                </c:pt>
                <c:pt idx="3">
                  <c:v>17.048999999999999</c:v>
                </c:pt>
                <c:pt idx="4">
                  <c:v>18.6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D0-41A0-ABEA-382B87E694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80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796284268115894"/>
          <c:y val="0.12175827559274828"/>
          <c:w val="0.61023707278111516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3.933999999999997</c:v>
                </c:pt>
                <c:pt idx="1">
                  <c:v>36.066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26-4B32-8D99-08AF32E455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80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796284268115894"/>
          <c:y val="0.12175827559274828"/>
          <c:w val="0.61023707278111516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Místní (vesnice, město)</c:v>
                </c:pt>
                <c:pt idx="1">
                  <c:v>Regionální (kraj)</c:v>
                </c:pt>
                <c:pt idx="2">
                  <c:v>Národní (v jednom členském státě EU)</c:v>
                </c:pt>
                <c:pt idx="3">
                  <c:v>Ostatní země EU</c:v>
                </c:pt>
                <c:pt idx="4">
                  <c:v>Země mimo EU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5.41</c:v>
                </c:pt>
                <c:pt idx="1">
                  <c:v>33.115000000000002</c:v>
                </c:pt>
                <c:pt idx="2">
                  <c:v>32.786999999999999</c:v>
                </c:pt>
                <c:pt idx="3">
                  <c:v>14.098000000000001</c:v>
                </c:pt>
                <c:pt idx="4">
                  <c:v>4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87-4CA5-8D96-5154719CA7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80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ED6737"/>
              </a:solidFill>
            </c:spPr>
            <c:extLst>
              <c:ext xmlns:c16="http://schemas.microsoft.com/office/drawing/2014/chart" uri="{C3380CC4-5D6E-409C-BE32-E72D297353CC}">
                <c16:uniqueId val="{00000000-DA07-41C7-AB16-1565B55AE109}"/>
              </c:ext>
            </c:extLst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556A-43E2-A463-DC74D2118131}"/>
              </c:ext>
            </c:extLst>
          </c:dPt>
          <c:dLbls>
            <c:dLbl>
              <c:idx val="2"/>
              <c:layout>
                <c:manualLayout>
                  <c:x val="2.436753144754649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56A-43E2-A463-DC74D211813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Ano</c:v>
                </c:pt>
                <c:pt idx="1">
                  <c:v>Ne</c:v>
                </c:pt>
                <c:pt idx="2">
                  <c:v>NEVÍM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7.377000000000002</c:v>
                </c:pt>
                <c:pt idx="1">
                  <c:v>59.015999999999998</c:v>
                </c:pt>
                <c:pt idx="2">
                  <c:v>3.607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CF-4E5A-A74E-C8A501A3E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 </c:v>
                </c:pt>
              </c:strCache>
            </c:strRef>
          </c:tx>
          <c:val>
            <c:numRef>
              <c:f>Sheet1!$A$2:$A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A5-49AF-B8B5-960F113A2238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1-7762-4975-A12A-1DB00A5500F1}"/>
              </c:ext>
            </c:extLst>
          </c:dPt>
          <c:dPt>
            <c:idx val="1"/>
            <c:bubble3D val="0"/>
            <c:spPr>
              <a:solidFill>
                <a:srgbClr val="ED673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762-4975-A12A-1DB00A5500F1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DDE6-462F-BA3B-69FB861F3CE6}"/>
              </c:ext>
            </c:extLst>
          </c:dPt>
          <c:dLbls>
            <c:dLbl>
              <c:idx val="2"/>
              <c:layout>
                <c:manualLayout>
                  <c:x val="5.5950537962219729E-3"/>
                  <c:y val="6.9638188485901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DE6-462F-BA3B-69FB861F3CE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4</c:f>
              <c:numCache>
                <c:formatCode>General</c:formatCode>
                <c:ptCount val="3"/>
                <c:pt idx="0">
                  <c:v>25</c:v>
                </c:pt>
                <c:pt idx="1">
                  <c:v>70.918000000000006</c:v>
                </c:pt>
                <c:pt idx="2">
                  <c:v>4.081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E6-462F-BA3B-69FB861F3C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19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189</cdr:x>
      <cdr:y>0.02964</cdr:y>
    </cdr:from>
    <cdr:to>
      <cdr:x>0.92932</cdr:x>
      <cdr:y>0.06321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690F86AA-0313-4BB2-9431-46326E2109A9}"/>
            </a:ext>
          </a:extLst>
        </cdr:cNvPr>
        <cdr:cNvSpPr txBox="1"/>
      </cdr:nvSpPr>
      <cdr:spPr>
        <a:xfrm xmlns:a="http://schemas.openxmlformats.org/drawingml/2006/main">
          <a:off x="1969630" y="67089"/>
          <a:ext cx="576499" cy="760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8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189</cdr:x>
      <cdr:y>0.02964</cdr:y>
    </cdr:from>
    <cdr:to>
      <cdr:x>0.92932</cdr:x>
      <cdr:y>0.06321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690F86AA-0313-4BB2-9431-46326E2109A9}"/>
            </a:ext>
          </a:extLst>
        </cdr:cNvPr>
        <cdr:cNvSpPr txBox="1"/>
      </cdr:nvSpPr>
      <cdr:spPr>
        <a:xfrm xmlns:a="http://schemas.openxmlformats.org/drawingml/2006/main">
          <a:off x="1969630" y="67089"/>
          <a:ext cx="576499" cy="760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8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189</cdr:x>
      <cdr:y>0.02964</cdr:y>
    </cdr:from>
    <cdr:to>
      <cdr:x>0.92932</cdr:x>
      <cdr:y>0.06321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690F86AA-0313-4BB2-9431-46326E2109A9}"/>
            </a:ext>
          </a:extLst>
        </cdr:cNvPr>
        <cdr:cNvSpPr txBox="1"/>
      </cdr:nvSpPr>
      <cdr:spPr>
        <a:xfrm xmlns:a="http://schemas.openxmlformats.org/drawingml/2006/main">
          <a:off x="1969630" y="67089"/>
          <a:ext cx="576499" cy="760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8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8847</cdr:x>
      <cdr:y>0.07053</cdr:y>
    </cdr:from>
    <cdr:to>
      <cdr:x>0.18847</cdr:x>
      <cdr:y>0.92234</cdr:y>
    </cdr:to>
    <cdr:cxnSp macro="">
      <cdr:nvCxnSpPr>
        <cdr:cNvPr id="4" name="Přímá spojnice 3">
          <a:extLst xmlns:a="http://schemas.openxmlformats.org/drawingml/2006/main">
            <a:ext uri="{FF2B5EF4-FFF2-40B4-BE49-F238E27FC236}">
              <a16:creationId xmlns:a16="http://schemas.microsoft.com/office/drawing/2014/main" id="{A157B735-8FD9-42D5-B1D5-E12489326027}"/>
            </a:ext>
          </a:extLst>
        </cdr:cNvPr>
        <cdr:cNvCxnSpPr/>
      </cdr:nvCxnSpPr>
      <cdr:spPr>
        <a:xfrm xmlns:a="http://schemas.openxmlformats.org/drawingml/2006/main">
          <a:off x="516377" y="159658"/>
          <a:ext cx="0" cy="1928303"/>
        </a:xfrm>
        <a:prstGeom xmlns:a="http://schemas.openxmlformats.org/drawingml/2006/main" prst="line">
          <a:avLst/>
        </a:prstGeom>
        <a:ln xmlns:a="http://schemas.openxmlformats.org/drawingml/2006/main" w="9525" cap="flat" cmpd="sng" algn="ctr">
          <a:solidFill>
            <a:schemeClr val="bg2">
              <a:lumMod val="75000"/>
            </a:schemeClr>
          </a:solidFill>
          <a:prstDash val="dash"/>
          <a:round/>
          <a:headEnd type="none" w="med" len="med"/>
          <a:tailEnd type="none" w="med" len="med"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189</cdr:x>
      <cdr:y>0.02964</cdr:y>
    </cdr:from>
    <cdr:to>
      <cdr:x>0.92932</cdr:x>
      <cdr:y>0.06321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690F86AA-0313-4BB2-9431-46326E2109A9}"/>
            </a:ext>
          </a:extLst>
        </cdr:cNvPr>
        <cdr:cNvSpPr txBox="1"/>
      </cdr:nvSpPr>
      <cdr:spPr>
        <a:xfrm xmlns:a="http://schemas.openxmlformats.org/drawingml/2006/main">
          <a:off x="1969630" y="67089"/>
          <a:ext cx="576499" cy="760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8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id="{D25EA6B0-E58D-4A1E-A648-162AADA6A61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2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D91E68C4-E21B-4D0B-94FD-D76EA0A238B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2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CA4D79-6FB0-4BB0-85DB-07044A98071C}" type="datetimeFigureOut">
              <a:rPr lang="cs-CZ" smtClean="0"/>
              <a:t>17.05.2023</a:t>
            </a:fld>
            <a:endParaRPr lang="cs-CZ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29D328B-10A1-4FC9-9A53-9F699299E5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B79B6BF-EC21-4433-956B-7CEBE069F9D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4495F4-F283-4B7C-948C-3B3724F45F8E}" type="slidenum">
              <a:rPr lang="cs-CZ" smtClean="0"/>
              <a:t>‹#›</a:t>
            </a:fld>
            <a:endParaRPr lang="cs-CZ" dirty="0"/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0EDED45F-4A58-4DF1-AB6E-4D526AD749C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13" y="819918"/>
            <a:ext cx="1293015" cy="1191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6983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B5026E-EFD2-49A9-A173-00C81CAE018D}" type="datetimeFigureOut">
              <a:rPr lang="cs-CZ" smtClean="0"/>
              <a:t>17.05.2023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EF7F45-9B54-48EE-9ECE-907062FCEB0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86442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EF7F45-9B54-48EE-9ECE-907062FCEB01}" type="slidenum">
              <a:rPr lang="cs-CZ" smtClean="0"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730250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99588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12473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74567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22033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60275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88699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60689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68768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09964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8628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48861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19895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79148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477663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172831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68169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61067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156568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14802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36581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6816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973738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47801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79624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186075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495644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0256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20810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45486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17050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29380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36475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1016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g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sv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sv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Espace réservé pour une image  9">
            <a:extLst>
              <a:ext uri="{FF2B5EF4-FFF2-40B4-BE49-F238E27FC236}">
                <a16:creationId xmlns:a16="http://schemas.microsoft.com/office/drawing/2014/main" id="{19C1BDE3-57F5-469B-B8D1-A0B6C04CD62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que 14">
            <a:extLst>
              <a:ext uri="{FF2B5EF4-FFF2-40B4-BE49-F238E27FC236}">
                <a16:creationId xmlns:a16="http://schemas.microsoft.com/office/drawing/2014/main" id="{006C46FC-AFDA-462D-947F-F240AC5E8B0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60477" y="5302567"/>
            <a:ext cx="939784" cy="847524"/>
          </a:xfrm>
          <a:prstGeom prst="rect">
            <a:avLst/>
          </a:prstGeom>
        </p:spPr>
      </p:pic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255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40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349745D3-EF43-423F-ABBD-ABCF2D87D2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8C01186-840F-4400-96DA-156581167C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9738957-5836-49C7-9D56-29C7DAB6EA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B531625-2A4F-435A-944C-1B9D8546504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2742141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724E7DA-22C1-4729-8590-7C1848647A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E425905-F400-4C97-BA9E-2AEDD73F3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9EE772DB-ABD2-46F5-9B59-502902151F0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cs-CZ" dirty="0"/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2324192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accent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6C63DAB-340D-4C9C-9688-C839BD99E0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algn="ctr">
              <a:defRPr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17554D2-5689-4E6C-8737-7276E345966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59EDA7F-9193-410E-830F-C30F637B471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cs-CZ" dirty="0"/>
              <a:t>© Ipsos | Template nabídky | Proposal Template | 2019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4BE1B552-31EB-41B3-A5A0-B629C45A5BAB}"/>
              </a:ext>
            </a:extLst>
          </p:cNvPr>
          <p:cNvSpPr txBox="1"/>
          <p:nvPr userDrawn="1"/>
        </p:nvSpPr>
        <p:spPr>
          <a:xfrm>
            <a:off x="937709" y="5954973"/>
            <a:ext cx="10261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rgbClr val="405A9C"/>
                </a:solidFill>
              </a:rPr>
              <a:t>Na Příkopě 22, Slovanský dům, 110 00, Praha 1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019B927-872C-46DD-8354-53B6491F5DAE}"/>
              </a:ext>
            </a:extLst>
          </p:cNvPr>
          <p:cNvGrpSpPr/>
          <p:nvPr userDrawn="1"/>
        </p:nvGrpSpPr>
        <p:grpSpPr>
          <a:xfrm>
            <a:off x="3587114" y="6351386"/>
            <a:ext cx="5017773" cy="369332"/>
            <a:chOff x="3587114" y="6202096"/>
            <a:chExt cx="5017773" cy="369332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E41A0299-CBC5-4F91-AD63-506C10767E63}"/>
                </a:ext>
              </a:extLst>
            </p:cNvPr>
            <p:cNvSpPr txBox="1"/>
            <p:nvPr userDrawn="1"/>
          </p:nvSpPr>
          <p:spPr>
            <a:xfrm>
              <a:off x="3587114" y="6202096"/>
              <a:ext cx="239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u="none" dirty="0">
                  <a:solidFill>
                    <a:srgbClr val="405A9C"/>
                  </a:solidFill>
                </a:rPr>
                <a:t>www.ipsos.cz</a:t>
              </a:r>
            </a:p>
          </p:txBody>
        </p:sp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01E3CADE-5DE0-468A-B9A7-0D9D3411E8A5}"/>
                </a:ext>
              </a:extLst>
            </p:cNvPr>
            <p:cNvSpPr txBox="1"/>
            <p:nvPr userDrawn="1"/>
          </p:nvSpPr>
          <p:spPr>
            <a:xfrm>
              <a:off x="6206489" y="6202096"/>
              <a:ext cx="239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u="none" dirty="0">
                  <a:solidFill>
                    <a:srgbClr val="405A9C"/>
                  </a:solidFill>
                </a:rPr>
                <a:t>www.ipsos.c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6858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9207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6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</a:t>
            </a:r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F14DBEE1-74D1-42A7-8DB6-8200E218D21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1187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94B68E69-F300-4943-96DE-87760FAFCD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DBECA6E2-221C-4967-BEAC-2A5C7E8F1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52463EF8-4AA8-44DE-911A-9DFD191CC0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1490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724E7DA-22C1-4729-8590-7C1848647A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E425905-F400-4C97-BA9E-2AEDD73F3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9EE772DB-ABD2-46F5-9B59-502902151F0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cs-CZ" dirty="0">
                <a:solidFill>
                  <a:srgbClr val="405A9C">
                    <a:lumMod val="75000"/>
                  </a:srgbClr>
                </a:solidFill>
              </a:rPr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864781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94B68E69-F300-4943-96DE-87760FAFCD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DBECA6E2-221C-4967-BEAC-2A5C7E8F1B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52463EF8-4AA8-44DE-911A-9DFD191CC0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35860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image" Target="../media/image3.svg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5.bin"/><Relationship Id="rId5" Type="http://schemas.openxmlformats.org/officeDocument/2006/relationships/tags" Target="../tags/tag10.xml"/><Relationship Id="rId10" Type="http://schemas.openxmlformats.org/officeDocument/2006/relationships/image" Target="../media/image4.emf"/><Relationship Id="rId4" Type="http://schemas.openxmlformats.org/officeDocument/2006/relationships/tags" Target="../tags/tag9.xml"/><Relationship Id="rId9" Type="http://schemas.openxmlformats.org/officeDocument/2006/relationships/image" Target="../media/image3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8.bin"/><Relationship Id="rId5" Type="http://schemas.openxmlformats.org/officeDocument/2006/relationships/tags" Target="../tags/tag16.xml"/><Relationship Id="rId10" Type="http://schemas.openxmlformats.org/officeDocument/2006/relationships/image" Target="../media/image4.emf"/><Relationship Id="rId4" Type="http://schemas.openxmlformats.org/officeDocument/2006/relationships/tags" Target="../tags/tag15.xml"/><Relationship Id="rId9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532" imgH="530" progId="TCLayout.ActiveDocument.1">
                  <p:embed/>
                </p:oleObj>
              </mc:Choice>
              <mc:Fallback>
                <p:oleObj name="Diapositive think-cell" r:id="rId8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  <a:prstGeom prst="rect">
            <a:avLst/>
          </a:prstGeom>
        </p:spPr>
        <p:txBody>
          <a:bodyPr vert="horz" wrap="square" lIns="162000" tIns="45720" rIns="162000" bIns="45720" rtlCol="0" anchor="t">
            <a:spAutoFit/>
          </a:bodyPr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11382428" cy="3868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67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1BF2C47-B8F6-4E71-B2B4-75ACE9A10D5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25E3167-726C-4019-880C-53C84592A1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0056" y="6219234"/>
            <a:ext cx="9206839" cy="365125"/>
          </a:xfrm>
          <a:prstGeom prst="rect">
            <a:avLst/>
          </a:prstGeom>
          <a:ln>
            <a:noFill/>
          </a:ln>
        </p:spPr>
        <p:txBody>
          <a:bodyPr vert="horz" lIns="0" tIns="45720" rIns="0" bIns="45720" rtlCol="0" anchor="ctr"/>
          <a:lstStyle>
            <a:lvl1pPr algn="l">
              <a:defRPr lang="en-US" sz="900" b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783732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80" r:id="rId2"/>
    <p:sldLayoutId id="2147483696" r:id="rId3"/>
    <p:sldLayoutId id="2147483707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-10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9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800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90000"/>
        </a:lnSpc>
        <a:spcBef>
          <a:spcPts val="600"/>
        </a:spcBef>
        <a:buSzPct val="80000"/>
        <a:buFontTx/>
        <a:buBlip>
          <a:blip r:embed="rId12"/>
        </a:buBlip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  <a:prstGeom prst="rect">
            <a:avLst/>
          </a:prstGeom>
        </p:spPr>
        <p:txBody>
          <a:bodyPr vert="horz" wrap="square" lIns="162000" tIns="45720" rIns="162000" bIns="45720" rtlCol="0" anchor="t">
            <a:spAutoFit/>
          </a:bodyPr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11382428" cy="3868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67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1BF2C47-B8F6-4E71-B2B4-75ACE9A10D5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25E3167-726C-4019-880C-53C84592A1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0056" y="6219234"/>
            <a:ext cx="9206839" cy="365125"/>
          </a:xfrm>
          <a:prstGeom prst="rect">
            <a:avLst/>
          </a:prstGeom>
          <a:ln>
            <a:noFill/>
          </a:ln>
        </p:spPr>
        <p:txBody>
          <a:bodyPr vert="horz" lIns="0" tIns="45720" rIns="0" bIns="45720" rtlCol="0" anchor="ctr"/>
          <a:lstStyle>
            <a:lvl1pPr algn="l">
              <a:defRPr lang="en-US" sz="900" b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>
                <a:solidFill>
                  <a:srgbClr val="405A9C">
                    <a:lumMod val="75000"/>
                  </a:srgbClr>
                </a:solidFill>
              </a:rPr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282920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3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-10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9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800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90000"/>
        </a:lnSpc>
        <a:spcBef>
          <a:spcPts val="600"/>
        </a:spcBef>
        <a:buSzPct val="80000"/>
        <a:buFontTx/>
        <a:buBlip>
          <a:blip r:embed="rId10"/>
        </a:buBlip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  <a:prstGeom prst="rect">
            <a:avLst/>
          </a:prstGeom>
        </p:spPr>
        <p:txBody>
          <a:bodyPr vert="horz" wrap="square" lIns="162000" tIns="45720" rIns="162000" bIns="45720" rtlCol="0" anchor="t">
            <a:spAutoFit/>
          </a:bodyPr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11382428" cy="3868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67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1BF2C47-B8F6-4E71-B2B4-75ACE9A10D5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25E3167-726C-4019-880C-53C84592A1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0056" y="6219234"/>
            <a:ext cx="9206839" cy="365125"/>
          </a:xfrm>
          <a:prstGeom prst="rect">
            <a:avLst/>
          </a:prstGeom>
          <a:ln>
            <a:noFill/>
          </a:ln>
        </p:spPr>
        <p:txBody>
          <a:bodyPr vert="horz" lIns="0" tIns="45720" rIns="0" bIns="45720" rtlCol="0" anchor="ctr"/>
          <a:lstStyle>
            <a:lvl1pPr algn="l">
              <a:defRPr lang="en-US" sz="900" b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>
                <a:solidFill>
                  <a:srgbClr val="405A9C">
                    <a:lumMod val="75000"/>
                  </a:srgbClr>
                </a:solidFill>
              </a:rPr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103262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-10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9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800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90000"/>
        </a:lnSpc>
        <a:spcBef>
          <a:spcPts val="600"/>
        </a:spcBef>
        <a:buSzPct val="80000"/>
        <a:buFontTx/>
        <a:buBlip>
          <a:blip r:embed="rId10"/>
        </a:buBlip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chart" Target="../charts/chart8.xml"/><Relationship Id="rId7" Type="http://schemas.openxmlformats.org/officeDocument/2006/relationships/chart" Target="../charts/chart1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Relationship Id="rId9" Type="http://schemas.openxmlformats.org/officeDocument/2006/relationships/chart" Target="../charts/char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4.xml"/><Relationship Id="rId3" Type="http://schemas.openxmlformats.org/officeDocument/2006/relationships/chart" Target="../charts/chart19.xml"/><Relationship Id="rId7" Type="http://schemas.openxmlformats.org/officeDocument/2006/relationships/chart" Target="../charts/chart2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2.xml"/><Relationship Id="rId5" Type="http://schemas.openxmlformats.org/officeDocument/2006/relationships/chart" Target="../charts/chart21.xml"/><Relationship Id="rId4" Type="http://schemas.openxmlformats.org/officeDocument/2006/relationships/chart" Target="../charts/chart20.xml"/><Relationship Id="rId9" Type="http://schemas.openxmlformats.org/officeDocument/2006/relationships/chart" Target="../charts/char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.xml"/><Relationship Id="rId3" Type="http://schemas.openxmlformats.org/officeDocument/2006/relationships/chart" Target="../charts/chart28.xml"/><Relationship Id="rId7" Type="http://schemas.openxmlformats.org/officeDocument/2006/relationships/chart" Target="../charts/chart3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31.xml"/><Relationship Id="rId5" Type="http://schemas.openxmlformats.org/officeDocument/2006/relationships/chart" Target="../charts/chart30.xml"/><Relationship Id="rId4" Type="http://schemas.openxmlformats.org/officeDocument/2006/relationships/chart" Target="../charts/chart29.xml"/><Relationship Id="rId9" Type="http://schemas.openxmlformats.org/officeDocument/2006/relationships/chart" Target="../charts/chart3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0.xml"/><Relationship Id="rId3" Type="http://schemas.openxmlformats.org/officeDocument/2006/relationships/chart" Target="../charts/chart35.xml"/><Relationship Id="rId7" Type="http://schemas.openxmlformats.org/officeDocument/2006/relationships/chart" Target="../charts/chart3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38.xml"/><Relationship Id="rId5" Type="http://schemas.openxmlformats.org/officeDocument/2006/relationships/chart" Target="../charts/chart37.xml"/><Relationship Id="rId4" Type="http://schemas.openxmlformats.org/officeDocument/2006/relationships/chart" Target="../charts/chart36.xml"/><Relationship Id="rId9" Type="http://schemas.openxmlformats.org/officeDocument/2006/relationships/chart" Target="../charts/chart4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8.xml"/><Relationship Id="rId3" Type="http://schemas.openxmlformats.org/officeDocument/2006/relationships/chart" Target="../charts/chart43.xml"/><Relationship Id="rId7" Type="http://schemas.openxmlformats.org/officeDocument/2006/relationships/chart" Target="../charts/chart47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46.xml"/><Relationship Id="rId5" Type="http://schemas.openxmlformats.org/officeDocument/2006/relationships/chart" Target="../charts/chart45.xml"/><Relationship Id="rId4" Type="http://schemas.openxmlformats.org/officeDocument/2006/relationships/chart" Target="../charts/chart44.xml"/><Relationship Id="rId9" Type="http://schemas.openxmlformats.org/officeDocument/2006/relationships/chart" Target="../charts/chart4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5.xml"/><Relationship Id="rId3" Type="http://schemas.openxmlformats.org/officeDocument/2006/relationships/chart" Target="../charts/chart50.xml"/><Relationship Id="rId7" Type="http://schemas.openxmlformats.org/officeDocument/2006/relationships/chart" Target="../charts/chart54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53.xml"/><Relationship Id="rId5" Type="http://schemas.openxmlformats.org/officeDocument/2006/relationships/chart" Target="../charts/chart52.xml"/><Relationship Id="rId4" Type="http://schemas.openxmlformats.org/officeDocument/2006/relationships/chart" Target="../charts/chart51.xml"/><Relationship Id="rId9" Type="http://schemas.openxmlformats.org/officeDocument/2006/relationships/chart" Target="../charts/chart5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7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8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9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0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2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3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4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5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6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7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69.xml"/><Relationship Id="rId4" Type="http://schemas.openxmlformats.org/officeDocument/2006/relationships/chart" Target="../charts/chart6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0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1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2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75.xml"/><Relationship Id="rId5" Type="http://schemas.openxmlformats.org/officeDocument/2006/relationships/chart" Target="../charts/chart74.xml"/><Relationship Id="rId4" Type="http://schemas.openxmlformats.org/officeDocument/2006/relationships/chart" Target="../charts/chart7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tif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odnadpis 1">
            <a:extLst>
              <a:ext uri="{FF2B5EF4-FFF2-40B4-BE49-F238E27FC236}">
                <a16:creationId xmlns:a16="http://schemas.microsoft.com/office/drawing/2014/main" id="{43B57646-1D8C-4658-859C-B64A6BEA50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9131" y="3001503"/>
            <a:ext cx="7551997" cy="424732"/>
          </a:xfrm>
        </p:spPr>
        <p:txBody>
          <a:bodyPr/>
          <a:lstStyle/>
          <a:p>
            <a:r>
              <a:rPr lang="cs-CZ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ávěrečná zpráva</a:t>
            </a:r>
            <a:endParaRPr lang="en-GB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95FB11BD-0A6C-480C-92C4-773B4221B4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6" y="491372"/>
            <a:ext cx="10631040" cy="2475348"/>
          </a:xfrm>
        </p:spPr>
        <p:txBody>
          <a:bodyPr>
            <a:normAutofit/>
          </a:bodyPr>
          <a:lstStyle/>
          <a:p>
            <a:r>
              <a:rPr lang="cs-CZ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áva duševního vlastnictví v malých a středních firmách</a:t>
            </a:r>
            <a:endParaRPr lang="en-GB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06436AEB-0D96-4BCD-8090-8EE6B3095B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9131" y="3992321"/>
            <a:ext cx="1599206" cy="369332"/>
          </a:xfrm>
        </p:spPr>
        <p:txBody>
          <a:bodyPr/>
          <a:lstStyle/>
          <a:p>
            <a:r>
              <a:rPr lang="cs-CZ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ben 2023</a:t>
            </a:r>
            <a:endParaRPr lang="en-GB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0" name="Picture 2" descr="Úřad průmyslového vlastnictví – DigiKoalice">
            <a:extLst>
              <a:ext uri="{FF2B5EF4-FFF2-40B4-BE49-F238E27FC236}">
                <a16:creationId xmlns:a16="http://schemas.microsoft.com/office/drawing/2014/main" id="{87159F3A-954C-A78C-2849-3AC0C2DE47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" y="4619625"/>
            <a:ext cx="3000375" cy="101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12160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4022360"/>
              </p:ext>
            </p:extLst>
          </p:nvPr>
        </p:nvGraphicFramePr>
        <p:xfrm>
          <a:off x="540683" y="1755844"/>
          <a:ext cx="9461731" cy="39717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743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47668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89960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89960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899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899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8996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89960">
                  <a:extLst>
                    <a:ext uri="{9D8B030D-6E8A-4147-A177-3AD203B41FA5}">
                      <a16:colId xmlns:a16="http://schemas.microsoft.com/office/drawing/2014/main" val="2602109801"/>
                    </a:ext>
                  </a:extLst>
                </a:gridCol>
              </a:tblGrid>
              <a:tr h="707002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/</a:t>
                      </a:r>
                      <a:b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atn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41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ýrobky či služby, které nabízím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41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ces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41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rganizační změn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5441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ketingové změn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41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lš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41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ví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0786163"/>
              </p:ext>
            </p:extLst>
          </p:nvPr>
        </p:nvGraphicFramePr>
        <p:xfrm>
          <a:off x="3369952" y="1997428"/>
          <a:ext cx="2418451" cy="3752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054574" cy="701731"/>
          </a:xfrm>
        </p:spPr>
        <p:txBody>
          <a:bodyPr/>
          <a:lstStyle/>
          <a:p>
            <a:r>
              <a:rPr lang="cs-CZ" sz="2200" dirty="0"/>
              <a:t>Nejvíce novinek či zlepšení přijaly firmy v oblastech výrobků či služeb, které nabízejí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9016219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vinky nebo zlepšení v posledních třech letech v následujících oblastech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2. Zavedl Váš podnik v posledních třech letech nějakou novinku nebo výrazné vylepšení v následujících oblastech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=305/196/109/93/33/119/60</a:t>
            </a:r>
            <a:endParaRPr lang="en-US" sz="11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24965077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4786279"/>
              </p:ext>
            </p:extLst>
          </p:nvPr>
        </p:nvGraphicFramePr>
        <p:xfrm>
          <a:off x="3390342" y="1656545"/>
          <a:ext cx="4633775" cy="3968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214815" cy="701731"/>
          </a:xfrm>
        </p:spPr>
        <p:txBody>
          <a:bodyPr/>
          <a:lstStyle/>
          <a:p>
            <a:r>
              <a:rPr lang="cs-CZ" sz="2200" dirty="0"/>
              <a:t>Nejčastěji využívanými položkami k ochraně inovací jsou obchodní tajemství, názvy a ochranné známky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oložky využívané k ochraně inovací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3. Kterou z uvedených položek využívá Vaše firma k ochraně inovací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=305/196/109/93/33/152/60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509DBE5-83DB-F14B-5AF9-130746095435}"/>
              </a:ext>
            </a:extLst>
          </p:cNvPr>
          <p:cNvSpPr txBox="1"/>
          <p:nvPr/>
        </p:nvSpPr>
        <p:spPr>
          <a:xfrm>
            <a:off x="3298991" y="5727572"/>
            <a:ext cx="20699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Zobrazeny pouze hodnoty nad 3 %)</a:t>
            </a:r>
          </a:p>
        </p:txBody>
      </p:sp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8891439"/>
              </p:ext>
            </p:extLst>
          </p:nvPr>
        </p:nvGraphicFramePr>
        <p:xfrm>
          <a:off x="499757" y="1755843"/>
          <a:ext cx="10277832" cy="38696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989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82912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849330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849330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8493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93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4933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49330">
                  <a:extLst>
                    <a:ext uri="{9D8B030D-6E8A-4147-A177-3AD203B41FA5}">
                      <a16:colId xmlns:a16="http://schemas.microsoft.com/office/drawing/2014/main" val="3952202254"/>
                    </a:ext>
                  </a:extLst>
                </a:gridCol>
              </a:tblGrid>
              <a:tr h="378664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/</a:t>
                      </a:r>
                      <a:b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atn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ůvěrnost (obchodní tajemství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ázev/názvy internetové domén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chranná známk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orská práv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áva k databází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tent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žitný vzor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281680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eměpisné označen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ložitost konstrukce výrobku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859856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ba uvedení na trh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092377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yužití mých doplňkových aktiv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356358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Šlechtitelské právo/odrůdové právo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9553060"/>
                  </a:ext>
                </a:extLst>
              </a:tr>
              <a:tr h="24935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je společnost nepřijímá žádná opatřen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110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71047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Zástupný symbol pro obsah 6">
            <a:extLst>
              <a:ext uri="{FF2B5EF4-FFF2-40B4-BE49-F238E27FC236}">
                <a16:creationId xmlns:a16="http://schemas.microsoft.com/office/drawing/2014/main" id="{86A626BF-2B20-4E32-9DA3-710653F1A4C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92825805"/>
              </p:ext>
            </p:extLst>
          </p:nvPr>
        </p:nvGraphicFramePr>
        <p:xfrm>
          <a:off x="388484" y="1525566"/>
          <a:ext cx="7662661" cy="19878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20643"/>
            <a:ext cx="11213966" cy="701731"/>
          </a:xfrm>
        </p:spPr>
        <p:txBody>
          <a:bodyPr/>
          <a:lstStyle/>
          <a:p>
            <a:r>
              <a:rPr lang="cs-CZ" sz="2200" dirty="0"/>
              <a:t>NEJVĚTŠÍ VLIV na získání konkurenční výhody má složitost konstrukce výrobku, patent, doba uvedení na trh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liv daných inovací na schopnost získat konkurenční výhodu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898206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3a. Jaký vliv mají tyto inovace na schopnost Vaší společnosti získat konkurenční výhodu?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cs-CZ" sz="1100" dirty="0">
                <a:solidFill>
                  <a:prstClr val="black"/>
                </a:solidFill>
                <a:latin typeface="Arial"/>
              </a:rPr>
              <a:t>N=21/34/21/98/61/24/43/51/87/82/25 (báze ti, kteří danou inovaci využívají, zobrazeny pouze inovace s minimální bází 20).</a:t>
            </a:r>
            <a:endParaRPr lang="en-US" sz="1100" dirty="0">
              <a:solidFill>
                <a:prstClr val="black"/>
              </a:solidFill>
              <a:latin typeface="Arial"/>
            </a:endParaRPr>
          </a:p>
        </p:txBody>
      </p:sp>
      <p:graphicFrame>
        <p:nvGraphicFramePr>
          <p:cNvPr id="68" name="Tabulka 67">
            <a:extLst>
              <a:ext uri="{FF2B5EF4-FFF2-40B4-BE49-F238E27FC236}">
                <a16:creationId xmlns:a16="http://schemas.microsoft.com/office/drawing/2014/main" id="{9E46368E-9CA5-423B-B991-E35B66E7C5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9044662"/>
              </p:ext>
            </p:extLst>
          </p:nvPr>
        </p:nvGraphicFramePr>
        <p:xfrm>
          <a:off x="473496" y="3283761"/>
          <a:ext cx="7546038" cy="512445"/>
        </p:xfrm>
        <a:graphic>
          <a:graphicData uri="http://schemas.openxmlformats.org/drawingml/2006/table">
            <a:tbl>
              <a:tblPr firstRow="1" bandRow="1"/>
              <a:tblGrid>
                <a:gridCol w="1257673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1257673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1257673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12576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576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57673">
                  <a:extLst>
                    <a:ext uri="{9D8B030D-6E8A-4147-A177-3AD203B41FA5}">
                      <a16:colId xmlns:a16="http://schemas.microsoft.com/office/drawing/2014/main" val="2399024787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ožitost konstrukce výrobku</a:t>
                      </a:r>
                      <a:endParaRPr lang="en-US" sz="8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tent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ba uvedení </a:t>
                      </a:r>
                      <a:b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 trh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ůvěrnost (obchodní tajemství)</a:t>
                      </a:r>
                      <a:endParaRPr lang="en-US" sz="8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rská práva</a:t>
                      </a:r>
                      <a:endParaRPr lang="en-US" sz="8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eměpisné </a:t>
                      </a:r>
                      <a:b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značení</a:t>
                      </a:r>
                      <a:endParaRPr lang="en-US" sz="8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sp>
        <p:nvSpPr>
          <p:cNvPr id="4" name="Zástupný symbol pro zápatí 2">
            <a:extLst>
              <a:ext uri="{FF2B5EF4-FFF2-40B4-BE49-F238E27FC236}">
                <a16:creationId xmlns:a16="http://schemas.microsoft.com/office/drawing/2014/main" id="{A2EB5C7D-7E41-2312-74FF-5AB7EB758A0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CA74A29E-45EA-09B0-B262-C7EF4E33FB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6175904"/>
              </p:ext>
            </p:extLst>
          </p:nvPr>
        </p:nvGraphicFramePr>
        <p:xfrm>
          <a:off x="8264101" y="2972134"/>
          <a:ext cx="936232" cy="14827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2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Vysoký vli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kern="1200" noProof="0" dirty="0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Střední vliv</a:t>
                      </a:r>
                      <a:endParaRPr lang="cs-CZ" sz="1000" b="0" kern="1200" dirty="0">
                        <a:solidFill>
                          <a:srgbClr val="4040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Nízký vliv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</a:tbl>
          </a:graphicData>
        </a:graphic>
      </p:graphicFrame>
      <p:sp>
        <p:nvSpPr>
          <p:cNvPr id="23" name="Rectangle 24">
            <a:extLst>
              <a:ext uri="{FF2B5EF4-FFF2-40B4-BE49-F238E27FC236}">
                <a16:creationId xmlns:a16="http://schemas.microsoft.com/office/drawing/2014/main" id="{468178E7-3E42-2A7C-F608-78EFD681F26B}"/>
              </a:ext>
            </a:extLst>
          </p:cNvPr>
          <p:cNvSpPr/>
          <p:nvPr/>
        </p:nvSpPr>
        <p:spPr>
          <a:xfrm>
            <a:off x="8181920" y="3171265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1AA1FB43-AB67-2163-2543-BE9E36D2269E}"/>
              </a:ext>
            </a:extLst>
          </p:cNvPr>
          <p:cNvSpPr/>
          <p:nvPr/>
        </p:nvSpPr>
        <p:spPr>
          <a:xfrm>
            <a:off x="8182043" y="3635133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996FA8D-4BE2-08C1-7A20-2B93B7B5CC2D}"/>
              </a:ext>
            </a:extLst>
          </p:cNvPr>
          <p:cNvSpPr/>
          <p:nvPr/>
        </p:nvSpPr>
        <p:spPr>
          <a:xfrm>
            <a:off x="8181920" y="4173458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213BE736-2FCB-D7B3-FB02-352DE80DC8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2045141"/>
              </p:ext>
            </p:extLst>
          </p:nvPr>
        </p:nvGraphicFramePr>
        <p:xfrm>
          <a:off x="489799" y="5347163"/>
          <a:ext cx="6282475" cy="512445"/>
        </p:xfrm>
        <a:graphic>
          <a:graphicData uri="http://schemas.openxmlformats.org/drawingml/2006/table">
            <a:tbl>
              <a:tblPr firstRow="1" bandRow="1"/>
              <a:tblGrid>
                <a:gridCol w="1256495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1256495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1256495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12564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5649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áva k databázím</a:t>
                      </a:r>
                      <a:endParaRPr lang="en-US" sz="8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ázev/názvy internetové domény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chranná </a:t>
                      </a:r>
                      <a:b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námka</a:t>
                      </a:r>
                      <a:endParaRPr lang="en-US" sz="8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žitný vzor</a:t>
                      </a:r>
                      <a:endParaRPr lang="en-US" sz="8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6">
            <a:extLst>
              <a:ext uri="{FF2B5EF4-FFF2-40B4-BE49-F238E27FC236}">
                <a16:creationId xmlns:a16="http://schemas.microsoft.com/office/drawing/2014/main" id="{22B8162E-92C7-951C-2FE7-D22F318FD4B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43081158"/>
              </p:ext>
            </p:extLst>
          </p:nvPr>
        </p:nvGraphicFramePr>
        <p:xfrm>
          <a:off x="404786" y="3588968"/>
          <a:ext cx="7662661" cy="19878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Obdélník: se zakulacenými rohy 9">
            <a:extLst>
              <a:ext uri="{FF2B5EF4-FFF2-40B4-BE49-F238E27FC236}">
                <a16:creationId xmlns:a16="http://schemas.microsoft.com/office/drawing/2014/main" id="{3D7F6328-DD32-A474-4AC4-1A42173EA9D7}"/>
              </a:ext>
            </a:extLst>
          </p:cNvPr>
          <p:cNvSpPr/>
          <p:nvPr/>
        </p:nvSpPr>
        <p:spPr>
          <a:xfrm>
            <a:off x="6960637" y="4708088"/>
            <a:ext cx="3540269" cy="699401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/>
              <a:t>Z dalších oblastí/opatření k ochraně inovací 2 % firem zmínily právníka.  </a:t>
            </a:r>
          </a:p>
        </p:txBody>
      </p:sp>
    </p:spTree>
    <p:extLst>
      <p:ext uri="{BB962C8B-B14F-4D97-AF65-F5344CB8AC3E}">
        <p14:creationId xmlns:p14="http://schemas.microsoft.com/office/powerpoint/2010/main" val="17766047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1356579" cy="701731"/>
          </a:xfrm>
        </p:spPr>
        <p:txBody>
          <a:bodyPr/>
          <a:lstStyle/>
          <a:p>
            <a:r>
              <a:rPr lang="cs-CZ" sz="2200" dirty="0"/>
              <a:t>Přibližně 2 Z 5 FIREM SPOLUPRACUJÍ S DALŠÍMI SUBJEKTY NA SPOLEČNÉM VÝVOJI INOVACÍ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97595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Spolupracujete s dalšími subjekty na společném vývoji inovací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38543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5. Spolupracujete s dalšími subjekty, jako jsou společnosti, výzkumné ústavy, akademická obec apod. na společném vývoji inovací?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=305/196/109/93/33/152/60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4219364374"/>
              </p:ext>
            </p:extLst>
          </p:nvPr>
        </p:nvGraphicFramePr>
        <p:xfrm>
          <a:off x="454288" y="2515878"/>
          <a:ext cx="3127112" cy="299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247052070"/>
              </p:ext>
            </p:extLst>
          </p:nvPr>
        </p:nvGraphicFramePr>
        <p:xfrm>
          <a:off x="3629165" y="223981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40613" y="3826374"/>
            <a:ext cx="1102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em</a:t>
            </a:r>
          </a:p>
        </p:txBody>
      </p:sp>
      <p:sp>
        <p:nvSpPr>
          <p:cNvPr id="7" name="Rectangle 6"/>
          <p:cNvSpPr/>
          <p:nvPr/>
        </p:nvSpPr>
        <p:spPr>
          <a:xfrm>
            <a:off x="4005469" y="1730222"/>
            <a:ext cx="166591" cy="18288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87184" y="1655009"/>
            <a:ext cx="526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713891" y="1737842"/>
            <a:ext cx="175260" cy="1752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843944" y="1653803"/>
            <a:ext cx="602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83096" y="287467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-49 zaměstnanců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077706" y="285562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-249 zaměstnanců</a:t>
            </a:r>
          </a:p>
        </p:txBody>
      </p:sp>
      <p:grpSp>
        <p:nvGrpSpPr>
          <p:cNvPr id="63" name="Group 62"/>
          <p:cNvGrpSpPr>
            <a:grpSpLocks noChangeAspect="1"/>
          </p:cNvGrpSpPr>
          <p:nvPr/>
        </p:nvGrpSpPr>
        <p:grpSpPr>
          <a:xfrm>
            <a:off x="70620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64" name="Freeform 11"/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5" name="Group 178"/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66" name="Freeform 10"/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12"/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8" name="Zástupný symbol pro zápatí 2">
            <a:extLst>
              <a:ext uri="{FF2B5EF4-FFF2-40B4-BE49-F238E27FC236}">
                <a16:creationId xmlns:a16="http://schemas.microsoft.com/office/drawing/2014/main" id="{AC696590-8929-E4DB-BAC7-33EAF70E00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C8C29D9-8ACE-104E-F21D-F63DA1CF8030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cky signifikantní </a:t>
            </a: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A6AC4563-636A-8A0A-404E-D1B2BD8B7AA4}"/>
              </a:ext>
            </a:extLst>
          </p:cNvPr>
          <p:cNvSpPr/>
          <p:nvPr/>
        </p:nvSpPr>
        <p:spPr>
          <a:xfrm>
            <a:off x="5269734" y="1739929"/>
            <a:ext cx="175260" cy="17526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DCB3564C-53BD-7A1B-EC29-E5759E74F526}"/>
              </a:ext>
            </a:extLst>
          </p:cNvPr>
          <p:cNvSpPr txBox="1"/>
          <p:nvPr/>
        </p:nvSpPr>
        <p:spPr>
          <a:xfrm>
            <a:off x="5399786" y="1655890"/>
            <a:ext cx="14399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vím</a:t>
            </a:r>
          </a:p>
        </p:txBody>
      </p:sp>
      <p:graphicFrame>
        <p:nvGraphicFramePr>
          <p:cNvPr id="18" name="Chart 21">
            <a:extLst>
              <a:ext uri="{FF2B5EF4-FFF2-40B4-BE49-F238E27FC236}">
                <a16:creationId xmlns:a16="http://schemas.microsoft.com/office/drawing/2014/main" id="{D3B086B0-1F8C-F570-37AB-0902DB66FC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3719016"/>
              </p:ext>
            </p:extLst>
          </p:nvPr>
        </p:nvGraphicFramePr>
        <p:xfrm>
          <a:off x="5296040" y="224934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0" name="Chart 21">
            <a:extLst>
              <a:ext uri="{FF2B5EF4-FFF2-40B4-BE49-F238E27FC236}">
                <a16:creationId xmlns:a16="http://schemas.microsoft.com/office/drawing/2014/main" id="{A3BF82C3-BDD5-C486-807B-8C8769A1FE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7781901"/>
              </p:ext>
            </p:extLst>
          </p:nvPr>
        </p:nvGraphicFramePr>
        <p:xfrm>
          <a:off x="3638690" y="39352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1" name="TextBox 14">
            <a:extLst>
              <a:ext uri="{FF2B5EF4-FFF2-40B4-BE49-F238E27FC236}">
                <a16:creationId xmlns:a16="http://schemas.microsoft.com/office/drawing/2014/main" id="{FAADC785-F636-058C-46B7-D7C1266F52FF}"/>
              </a:ext>
            </a:extLst>
          </p:cNvPr>
          <p:cNvSpPr txBox="1"/>
          <p:nvPr/>
        </p:nvSpPr>
        <p:spPr>
          <a:xfrm>
            <a:off x="4401471" y="4733537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ýroba</a:t>
            </a:r>
          </a:p>
        </p:txBody>
      </p:sp>
      <p:grpSp>
        <p:nvGrpSpPr>
          <p:cNvPr id="27" name="Group 62">
            <a:extLst>
              <a:ext uri="{FF2B5EF4-FFF2-40B4-BE49-F238E27FC236}">
                <a16:creationId xmlns:a16="http://schemas.microsoft.com/office/drawing/2014/main" id="{35526601-4801-2EFC-8DA5-12C563918D80}"/>
              </a:ext>
            </a:extLst>
          </p:cNvPr>
          <p:cNvGrpSpPr>
            <a:grpSpLocks noChangeAspect="1"/>
          </p:cNvGrpSpPr>
          <p:nvPr/>
        </p:nvGrpSpPr>
        <p:grpSpPr>
          <a:xfrm>
            <a:off x="7071612" y="539422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0890FF31-558C-7B0E-55DB-867BD57081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6" name="Group 178">
              <a:extLst>
                <a:ext uri="{FF2B5EF4-FFF2-40B4-BE49-F238E27FC236}">
                  <a16:creationId xmlns:a16="http://schemas.microsoft.com/office/drawing/2014/main" id="{42F6D77A-21AF-BF87-E2D0-AA488CC9FE61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5DB17A5C-C04B-1D07-FCDD-6D0B99457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FFBED637-3434-DF29-3AC2-8A30D6BDD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39" name="Chart 21">
            <a:extLst>
              <a:ext uri="{FF2B5EF4-FFF2-40B4-BE49-F238E27FC236}">
                <a16:creationId xmlns:a16="http://schemas.microsoft.com/office/drawing/2014/main" id="{342E7BA0-30DB-FB9B-1F0F-E660509587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8810752"/>
              </p:ext>
            </p:extLst>
          </p:nvPr>
        </p:nvGraphicFramePr>
        <p:xfrm>
          <a:off x="5305565" y="394479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40" name="Group 62">
            <a:extLst>
              <a:ext uri="{FF2B5EF4-FFF2-40B4-BE49-F238E27FC236}">
                <a16:creationId xmlns:a16="http://schemas.microsoft.com/office/drawing/2014/main" id="{A5CADA48-DEE6-6B61-09B0-80D31471E395}"/>
              </a:ext>
            </a:extLst>
          </p:cNvPr>
          <p:cNvGrpSpPr>
            <a:grpSpLocks noChangeAspect="1"/>
          </p:cNvGrpSpPr>
          <p:nvPr/>
        </p:nvGrpSpPr>
        <p:grpSpPr>
          <a:xfrm>
            <a:off x="104529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A867FA77-D4BF-1C67-D9C2-AE584EB6D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2" name="Group 178">
              <a:extLst>
                <a:ext uri="{FF2B5EF4-FFF2-40B4-BE49-F238E27FC236}">
                  <a16:creationId xmlns:a16="http://schemas.microsoft.com/office/drawing/2014/main" id="{D6EC7DBF-B14A-C5E0-177A-895B915B1BD6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43" name="Freeform 10">
                <a:extLst>
                  <a:ext uri="{FF2B5EF4-FFF2-40B4-BE49-F238E27FC236}">
                    <a16:creationId xmlns:a16="http://schemas.microsoft.com/office/drawing/2014/main" id="{D59AE41A-7E97-12B9-BE29-B9EB649C06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Freeform 12">
                <a:extLst>
                  <a:ext uri="{FF2B5EF4-FFF2-40B4-BE49-F238E27FC236}">
                    <a16:creationId xmlns:a16="http://schemas.microsoft.com/office/drawing/2014/main" id="{4F1755F7-B26B-0BE9-D63C-572926837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45" name="Chart 21">
            <a:extLst>
              <a:ext uri="{FF2B5EF4-FFF2-40B4-BE49-F238E27FC236}">
                <a16:creationId xmlns:a16="http://schemas.microsoft.com/office/drawing/2014/main" id="{2059F11D-761F-71AE-BD94-0E41C2446E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5807043"/>
              </p:ext>
            </p:extLst>
          </p:nvPr>
        </p:nvGraphicFramePr>
        <p:xfrm>
          <a:off x="7029590" y="39352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48" name="Group 62">
            <a:extLst>
              <a:ext uri="{FF2B5EF4-FFF2-40B4-BE49-F238E27FC236}">
                <a16:creationId xmlns:a16="http://schemas.microsoft.com/office/drawing/2014/main" id="{561CBA5E-B181-3B69-1E58-51C6C10E9F2E}"/>
              </a:ext>
            </a:extLst>
          </p:cNvPr>
          <p:cNvGrpSpPr>
            <a:grpSpLocks noChangeAspect="1"/>
          </p:cNvGrpSpPr>
          <p:nvPr/>
        </p:nvGrpSpPr>
        <p:grpSpPr>
          <a:xfrm>
            <a:off x="10462512" y="539422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49" name="Freeform 11">
              <a:extLst>
                <a:ext uri="{FF2B5EF4-FFF2-40B4-BE49-F238E27FC236}">
                  <a16:creationId xmlns:a16="http://schemas.microsoft.com/office/drawing/2014/main" id="{7E2CF461-2720-5B18-D6A6-D613A3E0E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0" name="Group 178">
              <a:extLst>
                <a:ext uri="{FF2B5EF4-FFF2-40B4-BE49-F238E27FC236}">
                  <a16:creationId xmlns:a16="http://schemas.microsoft.com/office/drawing/2014/main" id="{141ECCAA-5A78-265C-4416-01536B8C9474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51" name="Freeform 10">
                <a:extLst>
                  <a:ext uri="{FF2B5EF4-FFF2-40B4-BE49-F238E27FC236}">
                    <a16:creationId xmlns:a16="http://schemas.microsoft.com/office/drawing/2014/main" id="{45997DF3-CF08-7BFE-40C7-CCE6E8BE9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 12">
                <a:extLst>
                  <a:ext uri="{FF2B5EF4-FFF2-40B4-BE49-F238E27FC236}">
                    <a16:creationId xmlns:a16="http://schemas.microsoft.com/office/drawing/2014/main" id="{F19F4389-3741-DF10-9C90-078301876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53" name="Chart 21">
            <a:extLst>
              <a:ext uri="{FF2B5EF4-FFF2-40B4-BE49-F238E27FC236}">
                <a16:creationId xmlns:a16="http://schemas.microsoft.com/office/drawing/2014/main" id="{F353323F-A64E-2447-B886-C35AFDFD2C1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5308015"/>
              </p:ext>
            </p:extLst>
          </p:nvPr>
        </p:nvGraphicFramePr>
        <p:xfrm>
          <a:off x="8696465" y="394479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4" name="TextBox 27">
            <a:extLst>
              <a:ext uri="{FF2B5EF4-FFF2-40B4-BE49-F238E27FC236}">
                <a16:creationId xmlns:a16="http://schemas.microsoft.com/office/drawing/2014/main" id="{4B3302D8-4A1C-B8C1-A677-1F4EF78CF6A6}"/>
              </a:ext>
            </a:extLst>
          </p:cNvPr>
          <p:cNvSpPr txBox="1"/>
          <p:nvPr/>
        </p:nvSpPr>
        <p:spPr>
          <a:xfrm>
            <a:off x="6077706" y="471299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chod</a:t>
            </a:r>
          </a:p>
        </p:txBody>
      </p:sp>
      <p:sp>
        <p:nvSpPr>
          <p:cNvPr id="46" name="TextBox 14">
            <a:extLst>
              <a:ext uri="{FF2B5EF4-FFF2-40B4-BE49-F238E27FC236}">
                <a16:creationId xmlns:a16="http://schemas.microsoft.com/office/drawing/2014/main" id="{C7B199CC-76AF-57DE-AEB4-371E2E4C7419}"/>
              </a:ext>
            </a:extLst>
          </p:cNvPr>
          <p:cNvSpPr txBox="1"/>
          <p:nvPr/>
        </p:nvSpPr>
        <p:spPr>
          <a:xfrm>
            <a:off x="7783521" y="4703474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000" dirty="0">
                <a:solidFill>
                  <a:prstClr val="black"/>
                </a:solidFill>
                <a:latin typeface="Arial"/>
              </a:rPr>
              <a:t>Služb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Box 27">
            <a:extLst>
              <a:ext uri="{FF2B5EF4-FFF2-40B4-BE49-F238E27FC236}">
                <a16:creationId xmlns:a16="http://schemas.microsoft.com/office/drawing/2014/main" id="{2300AEBD-B00D-0D10-DAE7-342B8586213A}"/>
              </a:ext>
            </a:extLst>
          </p:cNvPr>
          <p:cNvSpPr txBox="1"/>
          <p:nvPr/>
        </p:nvSpPr>
        <p:spPr>
          <a:xfrm>
            <a:off x="9449556" y="469394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tatní</a:t>
            </a:r>
          </a:p>
        </p:txBody>
      </p:sp>
    </p:spTree>
    <p:extLst>
      <p:ext uri="{BB962C8B-B14F-4D97-AF65-F5344CB8AC3E}">
        <p14:creationId xmlns:p14="http://schemas.microsoft.com/office/powerpoint/2010/main" val="15191014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6" y="537475"/>
            <a:ext cx="10789639" cy="3065006"/>
          </a:xfrm>
        </p:spPr>
        <p:txBody>
          <a:bodyPr/>
          <a:lstStyle/>
          <a:p>
            <a:r>
              <a:rPr lang="cs-CZ" dirty="0"/>
              <a:t>Znalost a využívání práv duševního vlastnictví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1320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8294052"/>
              </p:ext>
            </p:extLst>
          </p:nvPr>
        </p:nvGraphicFramePr>
        <p:xfrm>
          <a:off x="499755" y="1755846"/>
          <a:ext cx="10844517" cy="37267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756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36440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905409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905409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9054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0540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0540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05409">
                  <a:extLst>
                    <a:ext uri="{9D8B030D-6E8A-4147-A177-3AD203B41FA5}">
                      <a16:colId xmlns:a16="http://schemas.microsoft.com/office/drawing/2014/main" val="681217446"/>
                    </a:ext>
                  </a:extLst>
                </a:gridCol>
              </a:tblGrid>
              <a:tr h="425854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/</a:t>
                      </a:r>
                      <a:b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atn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26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vropský patentový úřad (EPO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26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řad průmyslového vlastnictví (ÚPV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26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řad Evropské unie pro duševní vlastnictví (EUIPO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4126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větová organizace duševního vlastnictví (WIPO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26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terprise Europe Network (EEN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26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mview/DesignView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26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SPACENET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678697"/>
                  </a:ext>
                </a:extLst>
              </a:tr>
              <a:tr h="4126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Žádné z uvedených pojmů nezná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560508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0744528"/>
              </p:ext>
            </p:extLst>
          </p:nvPr>
        </p:nvGraphicFramePr>
        <p:xfrm>
          <a:off x="4482039" y="1748868"/>
          <a:ext cx="1714629" cy="3716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214815" cy="701731"/>
          </a:xfrm>
        </p:spPr>
        <p:txBody>
          <a:bodyPr/>
          <a:lstStyle/>
          <a:p>
            <a:r>
              <a:rPr lang="cs-CZ" sz="2200" dirty="0"/>
              <a:t>FIRMY NEJČASTĚJI ZNAJÍ EVROPSKÝ PATENTOVÝ ÚŘAD A ÚŘAD PRŮMYSLOVÉHO VLASTNICTVÍ. TÉMĚŘ OSMINA FIREM NENÍ OBEZNÁMENA S ŽÁDNÝM Z POJMŮ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831661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Znalost pojmů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8. Které z následujících pojmů znáte?</a:t>
            </a:r>
          </a:p>
          <a:p>
            <a:pPr defTabSz="914355">
              <a:lnSpc>
                <a:spcPts val="1400"/>
              </a:lnSpc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=305/196/109/93/33/152/60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5650342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Zástupný symbol pro obsah 6">
            <a:extLst>
              <a:ext uri="{FF2B5EF4-FFF2-40B4-BE49-F238E27FC236}">
                <a16:creationId xmlns:a16="http://schemas.microsoft.com/office/drawing/2014/main" id="{4048C87F-4B5F-2CE3-3A57-93B1CCB00FB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98400992"/>
              </p:ext>
            </p:extLst>
          </p:nvPr>
        </p:nvGraphicFramePr>
        <p:xfrm>
          <a:off x="-139955" y="2544870"/>
          <a:ext cx="10870163" cy="2263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20643"/>
            <a:ext cx="11381746" cy="701731"/>
          </a:xfrm>
        </p:spPr>
        <p:txBody>
          <a:bodyPr/>
          <a:lstStyle/>
          <a:p>
            <a:r>
              <a:rPr lang="cs-CZ" sz="2200" dirty="0"/>
              <a:t>Přibližně třetina malých a středních podniků rozumí duševnímu vlastnictví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dirty="0">
                <a:solidFill>
                  <a:prstClr val="black"/>
                </a:solidFill>
                <a:latin typeface="Arial Black"/>
              </a:rPr>
              <a:t>Rozumíte pojmu duševního vlastnictví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898206"/>
            <a:ext cx="11403782" cy="618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5">
              <a:lnSpc>
                <a:spcPts val="1400"/>
              </a:lnSpc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9. Nakolik podle Vás rozumíte pojmu duševního vlastnictví?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=305/196/109/93/33/152/60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8" name="Tabulka 67">
            <a:extLst>
              <a:ext uri="{FF2B5EF4-FFF2-40B4-BE49-F238E27FC236}">
                <a16:creationId xmlns:a16="http://schemas.microsoft.com/office/drawing/2014/main" id="{9E46368E-9CA5-423B-B991-E35B66E7C520}"/>
              </a:ext>
            </a:extLst>
          </p:cNvPr>
          <p:cNvGraphicFramePr>
            <a:graphicFrameLocks noGrp="1"/>
          </p:cNvGraphicFramePr>
          <p:nvPr/>
        </p:nvGraphicFramePr>
        <p:xfrm>
          <a:off x="434017" y="4871291"/>
          <a:ext cx="7086457" cy="512445"/>
        </p:xfrm>
        <a:graphic>
          <a:graphicData uri="http://schemas.openxmlformats.org/drawingml/2006/table">
            <a:tbl>
              <a:tblPr firstRow="1" bandRow="1"/>
              <a:tblGrid>
                <a:gridCol w="1012351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759263392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612859211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  <a:endParaRPr lang="en-US" sz="14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/</a:t>
                      </a:r>
                      <a:b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cxnSp>
        <p:nvCxnSpPr>
          <p:cNvPr id="70" name="Přímá spojnice 69">
            <a:extLst>
              <a:ext uri="{FF2B5EF4-FFF2-40B4-BE49-F238E27FC236}">
                <a16:creationId xmlns:a16="http://schemas.microsoft.com/office/drawing/2014/main" id="{62AD2A0E-E7CB-4822-AFE3-14FCB0F3B1AF}"/>
              </a:ext>
            </a:extLst>
          </p:cNvPr>
          <p:cNvCxnSpPr/>
          <p:nvPr/>
        </p:nvCxnSpPr>
        <p:spPr>
          <a:xfrm>
            <a:off x="138737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2" name="Tabulka 71">
            <a:extLst>
              <a:ext uri="{FF2B5EF4-FFF2-40B4-BE49-F238E27FC236}">
                <a16:creationId xmlns:a16="http://schemas.microsoft.com/office/drawing/2014/main" id="{2F9C9028-8BA1-40D2-A885-5C279CB673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2601925"/>
              </p:ext>
            </p:extLst>
          </p:nvPr>
        </p:nvGraphicFramePr>
        <p:xfrm>
          <a:off x="7966518" y="2287413"/>
          <a:ext cx="3214152" cy="3004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141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r>
                        <a:rPr lang="en-US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en-US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en-US" sz="1100" b="0" noProof="0" dirty="0">
                          <a:solidFill>
                            <a:srgbClr val="95C3FF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1" baseline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 </a:t>
                      </a:r>
                      <a:r>
                        <a:rPr lang="cs-CZ" sz="1100" b="1" i="1" kern="1200" noProof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Rozumím mu</a:t>
                      </a:r>
                      <a:endParaRPr lang="en-US" sz="1100" b="1" i="1" kern="1200" noProof="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108135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10 – Rozumím mu velmi dobře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 noProof="0" dirty="0">
                          <a:solidFill>
                            <a:srgbClr val="008BCA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9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 noProof="0" dirty="0">
                          <a:solidFill>
                            <a:srgbClr val="95C3FF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000" b="0" baseline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8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r>
                        <a:rPr lang="en-US" sz="1000" b="0" noProof="0" dirty="0">
                          <a:solidFill>
                            <a:srgbClr val="ED6737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000" b="0" kern="1200" baseline="0" noProof="0" dirty="0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6-7</a:t>
                      </a:r>
                      <a:endParaRPr lang="en-US" sz="1000" b="0" kern="1200" baseline="0" noProof="0" dirty="0">
                        <a:solidFill>
                          <a:srgbClr val="4040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1-5 – Nerozumím mu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</a:tbl>
          </a:graphicData>
        </a:graphic>
      </p:graphicFrame>
      <p:sp>
        <p:nvSpPr>
          <p:cNvPr id="4" name="Zástupný symbol pro zápatí 2">
            <a:extLst>
              <a:ext uri="{FF2B5EF4-FFF2-40B4-BE49-F238E27FC236}">
                <a16:creationId xmlns:a16="http://schemas.microsoft.com/office/drawing/2014/main" id="{A2EB5C7D-7E41-2312-74FF-5AB7EB758A0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graphicFrame>
        <p:nvGraphicFramePr>
          <p:cNvPr id="22" name="Tabulka 1">
            <a:extLst>
              <a:ext uri="{FF2B5EF4-FFF2-40B4-BE49-F238E27FC236}">
                <a16:creationId xmlns:a16="http://schemas.microsoft.com/office/drawing/2014/main" id="{6FFC0A8E-9273-CAB2-DBBA-2E62373FC6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8940467"/>
              </p:ext>
            </p:extLst>
          </p:nvPr>
        </p:nvGraphicFramePr>
        <p:xfrm>
          <a:off x="388860" y="2316427"/>
          <a:ext cx="7131614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880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3342435297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1036643538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7038E583-27AD-9A8E-5E2B-6181F54158AA}"/>
              </a:ext>
            </a:extLst>
          </p:cNvPr>
          <p:cNvCxnSpPr/>
          <p:nvPr/>
        </p:nvCxnSpPr>
        <p:spPr>
          <a:xfrm>
            <a:off x="3440494" y="204382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78030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4310644"/>
              </p:ext>
            </p:extLst>
          </p:nvPr>
        </p:nvGraphicFramePr>
        <p:xfrm>
          <a:off x="499756" y="1755847"/>
          <a:ext cx="11006442" cy="37100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334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59382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918928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918928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9189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892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892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8928">
                  <a:extLst>
                    <a:ext uri="{9D8B030D-6E8A-4147-A177-3AD203B41FA5}">
                      <a16:colId xmlns:a16="http://schemas.microsoft.com/office/drawing/2014/main" val="4006287059"/>
                    </a:ext>
                  </a:extLst>
                </a:gridCol>
              </a:tblGrid>
              <a:tr h="381678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/</a:t>
                      </a:r>
                      <a:b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atn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pl-PL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řečetl/a jsem si o nich na internet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ormován/upozorněn obchodním poradce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 škole / při studi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ormován/varován přítelem/kolego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 tohoto dotazník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pl-PL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Četl jsem časopis/knihu/novin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držel dopis, ve kterém se uvádí, že jsem porušil jejich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678697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ěkdo mě okopíroval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560508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iné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521981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680738"/>
              </p:ext>
            </p:extLst>
          </p:nvPr>
        </p:nvGraphicFramePr>
        <p:xfrm>
          <a:off x="4230368" y="1686187"/>
          <a:ext cx="3403614" cy="377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214815" cy="701731"/>
          </a:xfrm>
        </p:spPr>
        <p:txBody>
          <a:bodyPr/>
          <a:lstStyle/>
          <a:p>
            <a:r>
              <a:rPr lang="cs-CZ" sz="2200" dirty="0"/>
              <a:t>Firmy se seznamují s informacemi o právech duševního vlastnictví nejčastěji na internetu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10459125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dirty="0">
                <a:solidFill>
                  <a:prstClr val="black"/>
                </a:solidFill>
                <a:latin typeface="Arial Black"/>
              </a:rPr>
              <a:t>Způsoby podrobnějšího seznámení se s informacemi o právech duševního vlastnictví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618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0. Jak jste se podrobněji seznámili s informacemi o právech duševního vlastnictví?</a:t>
            </a:r>
          </a:p>
          <a:p>
            <a:pPr defTabSz="914355">
              <a:lnSpc>
                <a:spcPts val="1400"/>
              </a:lnSpc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N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=305/196/109/93/33/152/60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31876089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Zástupný symbol pro obsah 6">
            <a:extLst>
              <a:ext uri="{FF2B5EF4-FFF2-40B4-BE49-F238E27FC236}">
                <a16:creationId xmlns:a16="http://schemas.microsoft.com/office/drawing/2014/main" id="{4048C87F-4B5F-2CE3-3A57-93B1CCB00FB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39446686"/>
              </p:ext>
            </p:extLst>
          </p:nvPr>
        </p:nvGraphicFramePr>
        <p:xfrm>
          <a:off x="-139955" y="2544870"/>
          <a:ext cx="10870163" cy="2263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20643"/>
            <a:ext cx="11381746" cy="701731"/>
          </a:xfrm>
        </p:spPr>
        <p:txBody>
          <a:bodyPr/>
          <a:lstStyle/>
          <a:p>
            <a:r>
              <a:rPr lang="cs-CZ" sz="2200" dirty="0"/>
              <a:t>Dva ze tří dotazovaných se domnívají, že je důležité, aby podniky, jako ten jejich, rozuměly tomu, jak ochránit svá práva duševního vlastnictví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Jak je důležité, aby podniky rozuměly právům duševního vlastnictví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898206"/>
            <a:ext cx="11403782" cy="618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1. Jak důležité je podle Vašeho názoru, aby podniky, jako je Váš, rozuměly tomu, jak chránit svá práva duševního vlastnictví?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305/196/109/93/33/152/60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8" name="Tabulka 67">
            <a:extLst>
              <a:ext uri="{FF2B5EF4-FFF2-40B4-BE49-F238E27FC236}">
                <a16:creationId xmlns:a16="http://schemas.microsoft.com/office/drawing/2014/main" id="{9E46368E-9CA5-423B-B991-E35B66E7C520}"/>
              </a:ext>
            </a:extLst>
          </p:cNvPr>
          <p:cNvGraphicFramePr>
            <a:graphicFrameLocks noGrp="1"/>
          </p:cNvGraphicFramePr>
          <p:nvPr/>
        </p:nvGraphicFramePr>
        <p:xfrm>
          <a:off x="434017" y="4871291"/>
          <a:ext cx="7086457" cy="512445"/>
        </p:xfrm>
        <a:graphic>
          <a:graphicData uri="http://schemas.openxmlformats.org/drawingml/2006/table">
            <a:tbl>
              <a:tblPr firstRow="1" bandRow="1"/>
              <a:tblGrid>
                <a:gridCol w="1012351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759263392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612859211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  <a:endParaRPr lang="en-US" sz="14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/</a:t>
                      </a:r>
                      <a:b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cxnSp>
        <p:nvCxnSpPr>
          <p:cNvPr id="70" name="Přímá spojnice 69">
            <a:extLst>
              <a:ext uri="{FF2B5EF4-FFF2-40B4-BE49-F238E27FC236}">
                <a16:creationId xmlns:a16="http://schemas.microsoft.com/office/drawing/2014/main" id="{62AD2A0E-E7CB-4822-AFE3-14FCB0F3B1AF}"/>
              </a:ext>
            </a:extLst>
          </p:cNvPr>
          <p:cNvCxnSpPr/>
          <p:nvPr/>
        </p:nvCxnSpPr>
        <p:spPr>
          <a:xfrm>
            <a:off x="138737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ástupný symbol pro zápatí 2">
            <a:extLst>
              <a:ext uri="{FF2B5EF4-FFF2-40B4-BE49-F238E27FC236}">
                <a16:creationId xmlns:a16="http://schemas.microsoft.com/office/drawing/2014/main" id="{A2EB5C7D-7E41-2312-74FF-5AB7EB758A0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graphicFrame>
        <p:nvGraphicFramePr>
          <p:cNvPr id="22" name="Tabulka 1">
            <a:extLst>
              <a:ext uri="{FF2B5EF4-FFF2-40B4-BE49-F238E27FC236}">
                <a16:creationId xmlns:a16="http://schemas.microsoft.com/office/drawing/2014/main" id="{6FFC0A8E-9273-CAB2-DBBA-2E62373FC6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355994"/>
              </p:ext>
            </p:extLst>
          </p:nvPr>
        </p:nvGraphicFramePr>
        <p:xfrm>
          <a:off x="388860" y="2316427"/>
          <a:ext cx="7131614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880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3342435297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1036643538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7038E583-27AD-9A8E-5E2B-6181F54158AA}"/>
              </a:ext>
            </a:extLst>
          </p:cNvPr>
          <p:cNvCxnSpPr/>
          <p:nvPr/>
        </p:nvCxnSpPr>
        <p:spPr>
          <a:xfrm>
            <a:off x="3440494" y="204382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9958CF78-552E-1C65-3198-811653D891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5367922"/>
              </p:ext>
            </p:extLst>
          </p:nvPr>
        </p:nvGraphicFramePr>
        <p:xfrm>
          <a:off x="7966518" y="2287413"/>
          <a:ext cx="3214152" cy="3004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141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r>
                        <a:rPr lang="en-US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en-US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1" baseline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 </a:t>
                      </a:r>
                      <a:r>
                        <a:rPr lang="cs-CZ" sz="1100" b="1" i="1" kern="1200" noProof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Důležité</a:t>
                      </a:r>
                      <a:endParaRPr lang="en-US" sz="1100" b="1" i="1" kern="1200" noProof="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108135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Velmi důležité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 noProof="0" dirty="0">
                          <a:solidFill>
                            <a:srgbClr val="008BCA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Spíše důležité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0" noProof="0" dirty="0">
                          <a:solidFill>
                            <a:srgbClr val="95C3FF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000" b="0" baseline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Neutrální odpověď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r>
                        <a:rPr lang="en-US" sz="1000" b="0" noProof="0" dirty="0">
                          <a:solidFill>
                            <a:srgbClr val="ED6737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000" b="0" kern="1200" baseline="0" noProof="0" dirty="0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Spíše není důležité</a:t>
                      </a:r>
                      <a:endParaRPr lang="en-US" sz="1000" b="0" kern="1200" baseline="0" noProof="0" dirty="0">
                        <a:solidFill>
                          <a:srgbClr val="4040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Vůbec není důležité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05560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1356579" cy="397032"/>
          </a:xfrm>
        </p:spPr>
        <p:txBody>
          <a:bodyPr/>
          <a:lstStyle/>
          <a:p>
            <a:r>
              <a:rPr lang="cs-CZ" sz="2200" dirty="0"/>
              <a:t>TÉMĚŘ TŘETINA FIREM VLASTNÍ REGISTROVANÁ PRÁVA DUŠEVNÍHO VLASTNICTVÍ. 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97595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lastní Vaše společnost nějaká registrovaná práva duševního vlastnictví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38543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2. Vlastní Vaše společnost nějaká registrovaná práva duševního vlastnictví?</a:t>
            </a:r>
          </a:p>
          <a:p>
            <a:pPr defTabSz="914355">
              <a:lnSpc>
                <a:spcPts val="1400"/>
              </a:lnSpc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=305/196/109/93/33/152/60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81245311"/>
              </p:ext>
            </p:extLst>
          </p:nvPr>
        </p:nvGraphicFramePr>
        <p:xfrm>
          <a:off x="454288" y="2515878"/>
          <a:ext cx="3127112" cy="299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40613" y="3826374"/>
            <a:ext cx="1102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em</a:t>
            </a:r>
          </a:p>
        </p:txBody>
      </p:sp>
      <p:sp>
        <p:nvSpPr>
          <p:cNvPr id="7" name="Rectangle 6"/>
          <p:cNvSpPr/>
          <p:nvPr/>
        </p:nvSpPr>
        <p:spPr>
          <a:xfrm>
            <a:off x="4005469" y="1730222"/>
            <a:ext cx="166591" cy="18288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87184" y="1655009"/>
            <a:ext cx="526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713891" y="1737842"/>
            <a:ext cx="175260" cy="1752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843944" y="1653803"/>
            <a:ext cx="602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</a:t>
            </a:r>
          </a:p>
        </p:txBody>
      </p:sp>
      <p:sp>
        <p:nvSpPr>
          <p:cNvPr id="8" name="Zástupný symbol pro zápatí 2">
            <a:extLst>
              <a:ext uri="{FF2B5EF4-FFF2-40B4-BE49-F238E27FC236}">
                <a16:creationId xmlns:a16="http://schemas.microsoft.com/office/drawing/2014/main" id="{AC696590-8929-E4DB-BAC7-33EAF70E00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C8C29D9-8ACE-104E-F21D-F63DA1CF8030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cky signifikantní </a:t>
            </a: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007D4C5E-96CF-9341-1400-6DBFF4D989CF}"/>
              </a:ext>
            </a:extLst>
          </p:cNvPr>
          <p:cNvSpPr/>
          <p:nvPr/>
        </p:nvSpPr>
        <p:spPr>
          <a:xfrm>
            <a:off x="5270253" y="1739929"/>
            <a:ext cx="175260" cy="17526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C06AB0DE-31AD-FD68-3845-B7F8C84D9E60}"/>
              </a:ext>
            </a:extLst>
          </p:cNvPr>
          <p:cNvSpPr txBox="1"/>
          <p:nvPr/>
        </p:nvSpPr>
        <p:spPr>
          <a:xfrm>
            <a:off x="5400305" y="1655890"/>
            <a:ext cx="1126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vím</a:t>
            </a:r>
          </a:p>
        </p:txBody>
      </p:sp>
      <p:graphicFrame>
        <p:nvGraphicFramePr>
          <p:cNvPr id="16" name="Chart 21">
            <a:extLst>
              <a:ext uri="{FF2B5EF4-FFF2-40B4-BE49-F238E27FC236}">
                <a16:creationId xmlns:a16="http://schemas.microsoft.com/office/drawing/2014/main" id="{4A84E64F-47D2-F62B-8A8F-FD464BA39F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6545812"/>
              </p:ext>
            </p:extLst>
          </p:nvPr>
        </p:nvGraphicFramePr>
        <p:xfrm>
          <a:off x="3629165" y="223981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4">
            <a:extLst>
              <a:ext uri="{FF2B5EF4-FFF2-40B4-BE49-F238E27FC236}">
                <a16:creationId xmlns:a16="http://schemas.microsoft.com/office/drawing/2014/main" id="{07C47D12-C1CC-5AC0-1DFB-901657037A28}"/>
              </a:ext>
            </a:extLst>
          </p:cNvPr>
          <p:cNvSpPr txBox="1"/>
          <p:nvPr/>
        </p:nvSpPr>
        <p:spPr>
          <a:xfrm>
            <a:off x="4383096" y="287467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-49 zaměstnanců</a:t>
            </a:r>
          </a:p>
        </p:txBody>
      </p:sp>
      <p:sp>
        <p:nvSpPr>
          <p:cNvPr id="18" name="TextBox 27">
            <a:extLst>
              <a:ext uri="{FF2B5EF4-FFF2-40B4-BE49-F238E27FC236}">
                <a16:creationId xmlns:a16="http://schemas.microsoft.com/office/drawing/2014/main" id="{869FB7C7-6FCC-262A-8D49-49E8FDF5207C}"/>
              </a:ext>
            </a:extLst>
          </p:cNvPr>
          <p:cNvSpPr txBox="1"/>
          <p:nvPr/>
        </p:nvSpPr>
        <p:spPr>
          <a:xfrm>
            <a:off x="6077706" y="285562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-249 zaměstnanců</a:t>
            </a:r>
          </a:p>
        </p:txBody>
      </p:sp>
      <p:grpSp>
        <p:nvGrpSpPr>
          <p:cNvPr id="20" name="Group 62">
            <a:extLst>
              <a:ext uri="{FF2B5EF4-FFF2-40B4-BE49-F238E27FC236}">
                <a16:creationId xmlns:a16="http://schemas.microsoft.com/office/drawing/2014/main" id="{60FA26C1-5722-0979-7D4F-4783A5E1987E}"/>
              </a:ext>
            </a:extLst>
          </p:cNvPr>
          <p:cNvGrpSpPr>
            <a:grpSpLocks noChangeAspect="1"/>
          </p:cNvGrpSpPr>
          <p:nvPr/>
        </p:nvGrpSpPr>
        <p:grpSpPr>
          <a:xfrm>
            <a:off x="70620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BA1CB636-BA8C-2E11-D5BF-F78FD4B18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4" name="Group 178">
              <a:extLst>
                <a:ext uri="{FF2B5EF4-FFF2-40B4-BE49-F238E27FC236}">
                  <a16:creationId xmlns:a16="http://schemas.microsoft.com/office/drawing/2014/main" id="{9C4B1A99-F2CE-AC2D-B796-5B6D96FF3B39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C4189E23-D56D-AE25-3129-4A1CA7864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3A560FD6-9427-8DAF-1E75-1CBB563994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36" name="Chart 21">
            <a:extLst>
              <a:ext uri="{FF2B5EF4-FFF2-40B4-BE49-F238E27FC236}">
                <a16:creationId xmlns:a16="http://schemas.microsoft.com/office/drawing/2014/main" id="{CC00396D-FAAC-94D9-271E-54D13877A7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2983114"/>
              </p:ext>
            </p:extLst>
          </p:nvPr>
        </p:nvGraphicFramePr>
        <p:xfrm>
          <a:off x="5296040" y="224934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7" name="Chart 21">
            <a:extLst>
              <a:ext uri="{FF2B5EF4-FFF2-40B4-BE49-F238E27FC236}">
                <a16:creationId xmlns:a16="http://schemas.microsoft.com/office/drawing/2014/main" id="{89FE73E7-D911-9A60-CBB2-DA959C1084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6316676"/>
              </p:ext>
            </p:extLst>
          </p:nvPr>
        </p:nvGraphicFramePr>
        <p:xfrm>
          <a:off x="3638690" y="39352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8" name="TextBox 14">
            <a:extLst>
              <a:ext uri="{FF2B5EF4-FFF2-40B4-BE49-F238E27FC236}">
                <a16:creationId xmlns:a16="http://schemas.microsoft.com/office/drawing/2014/main" id="{E8EE2C81-9FCF-2480-9D79-3CC6625F63FF}"/>
              </a:ext>
            </a:extLst>
          </p:cNvPr>
          <p:cNvSpPr txBox="1"/>
          <p:nvPr/>
        </p:nvSpPr>
        <p:spPr>
          <a:xfrm>
            <a:off x="4401471" y="4733537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ýroba</a:t>
            </a:r>
          </a:p>
        </p:txBody>
      </p:sp>
      <p:grpSp>
        <p:nvGrpSpPr>
          <p:cNvPr id="39" name="Group 62">
            <a:extLst>
              <a:ext uri="{FF2B5EF4-FFF2-40B4-BE49-F238E27FC236}">
                <a16:creationId xmlns:a16="http://schemas.microsoft.com/office/drawing/2014/main" id="{FA8176C6-58AC-3ABB-1C30-52374659CA4C}"/>
              </a:ext>
            </a:extLst>
          </p:cNvPr>
          <p:cNvGrpSpPr>
            <a:grpSpLocks noChangeAspect="1"/>
          </p:cNvGrpSpPr>
          <p:nvPr/>
        </p:nvGrpSpPr>
        <p:grpSpPr>
          <a:xfrm>
            <a:off x="7071612" y="539422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329AE6D4-CE2D-18B3-338D-C52F42F60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1" name="Group 178">
              <a:extLst>
                <a:ext uri="{FF2B5EF4-FFF2-40B4-BE49-F238E27FC236}">
                  <a16:creationId xmlns:a16="http://schemas.microsoft.com/office/drawing/2014/main" id="{0B1313F0-0D38-CA2A-9D69-26119FE61F1F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42" name="Freeform 10">
                <a:extLst>
                  <a:ext uri="{FF2B5EF4-FFF2-40B4-BE49-F238E27FC236}">
                    <a16:creationId xmlns:a16="http://schemas.microsoft.com/office/drawing/2014/main" id="{5CA29E31-D05C-DB59-CC4C-2F6F65AD8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12">
                <a:extLst>
                  <a:ext uri="{FF2B5EF4-FFF2-40B4-BE49-F238E27FC236}">
                    <a16:creationId xmlns:a16="http://schemas.microsoft.com/office/drawing/2014/main" id="{06468430-1652-6219-0EDC-F098B488B3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44" name="Chart 21">
            <a:extLst>
              <a:ext uri="{FF2B5EF4-FFF2-40B4-BE49-F238E27FC236}">
                <a16:creationId xmlns:a16="http://schemas.microsoft.com/office/drawing/2014/main" id="{9C932985-3FBC-A6C6-D1FC-6CF0098CC1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2287698"/>
              </p:ext>
            </p:extLst>
          </p:nvPr>
        </p:nvGraphicFramePr>
        <p:xfrm>
          <a:off x="5305565" y="394479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45" name="Group 62">
            <a:extLst>
              <a:ext uri="{FF2B5EF4-FFF2-40B4-BE49-F238E27FC236}">
                <a16:creationId xmlns:a16="http://schemas.microsoft.com/office/drawing/2014/main" id="{F7EB3F1B-482C-6380-CCF3-A9391E787D02}"/>
              </a:ext>
            </a:extLst>
          </p:cNvPr>
          <p:cNvGrpSpPr>
            <a:grpSpLocks noChangeAspect="1"/>
          </p:cNvGrpSpPr>
          <p:nvPr/>
        </p:nvGrpSpPr>
        <p:grpSpPr>
          <a:xfrm>
            <a:off x="104529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F5132E6-5A42-F66A-6404-FEEDA007E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7" name="Group 178">
              <a:extLst>
                <a:ext uri="{FF2B5EF4-FFF2-40B4-BE49-F238E27FC236}">
                  <a16:creationId xmlns:a16="http://schemas.microsoft.com/office/drawing/2014/main" id="{72A7342F-7087-D517-038C-C9A27258F908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48" name="Freeform 10">
                <a:extLst>
                  <a:ext uri="{FF2B5EF4-FFF2-40B4-BE49-F238E27FC236}">
                    <a16:creationId xmlns:a16="http://schemas.microsoft.com/office/drawing/2014/main" id="{0D5A3661-DF90-6A55-C2A8-E0160912B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12">
                <a:extLst>
                  <a:ext uri="{FF2B5EF4-FFF2-40B4-BE49-F238E27FC236}">
                    <a16:creationId xmlns:a16="http://schemas.microsoft.com/office/drawing/2014/main" id="{DB682512-03D8-EFE5-5FE1-092A1DD78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50" name="Chart 21">
            <a:extLst>
              <a:ext uri="{FF2B5EF4-FFF2-40B4-BE49-F238E27FC236}">
                <a16:creationId xmlns:a16="http://schemas.microsoft.com/office/drawing/2014/main" id="{0FFDFAE2-E13D-0AAF-6F92-D2831F0DD2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3853412"/>
              </p:ext>
            </p:extLst>
          </p:nvPr>
        </p:nvGraphicFramePr>
        <p:xfrm>
          <a:off x="7029590" y="39352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51" name="Group 62">
            <a:extLst>
              <a:ext uri="{FF2B5EF4-FFF2-40B4-BE49-F238E27FC236}">
                <a16:creationId xmlns:a16="http://schemas.microsoft.com/office/drawing/2014/main" id="{60CA283E-5BE4-ACDA-DAA8-11DB9B19DA9C}"/>
              </a:ext>
            </a:extLst>
          </p:cNvPr>
          <p:cNvGrpSpPr>
            <a:grpSpLocks noChangeAspect="1"/>
          </p:cNvGrpSpPr>
          <p:nvPr/>
        </p:nvGrpSpPr>
        <p:grpSpPr>
          <a:xfrm>
            <a:off x="10462512" y="539422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A2C17443-0D28-4DF3-1D7C-22D7C33C8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3" name="Group 178">
              <a:extLst>
                <a:ext uri="{FF2B5EF4-FFF2-40B4-BE49-F238E27FC236}">
                  <a16:creationId xmlns:a16="http://schemas.microsoft.com/office/drawing/2014/main" id="{82DA4FE8-26F4-D5A2-5DBA-798B57505166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54" name="Freeform 10">
                <a:extLst>
                  <a:ext uri="{FF2B5EF4-FFF2-40B4-BE49-F238E27FC236}">
                    <a16:creationId xmlns:a16="http://schemas.microsoft.com/office/drawing/2014/main" id="{B1481997-4629-F895-5156-93D3BF243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12">
                <a:extLst>
                  <a:ext uri="{FF2B5EF4-FFF2-40B4-BE49-F238E27FC236}">
                    <a16:creationId xmlns:a16="http://schemas.microsoft.com/office/drawing/2014/main" id="{0C82BEBA-089E-DA68-8A9A-241131505A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56" name="Chart 21">
            <a:extLst>
              <a:ext uri="{FF2B5EF4-FFF2-40B4-BE49-F238E27FC236}">
                <a16:creationId xmlns:a16="http://schemas.microsoft.com/office/drawing/2014/main" id="{2197667D-9990-A357-8DA4-ECCDCD6ADF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9142679"/>
              </p:ext>
            </p:extLst>
          </p:nvPr>
        </p:nvGraphicFramePr>
        <p:xfrm>
          <a:off x="8696465" y="394479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7" name="TextBox 27">
            <a:extLst>
              <a:ext uri="{FF2B5EF4-FFF2-40B4-BE49-F238E27FC236}">
                <a16:creationId xmlns:a16="http://schemas.microsoft.com/office/drawing/2014/main" id="{7542A623-9809-09D9-180C-FFA1BD4B78CB}"/>
              </a:ext>
            </a:extLst>
          </p:cNvPr>
          <p:cNvSpPr txBox="1"/>
          <p:nvPr/>
        </p:nvSpPr>
        <p:spPr>
          <a:xfrm>
            <a:off x="6077706" y="471299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chod</a:t>
            </a:r>
          </a:p>
        </p:txBody>
      </p:sp>
      <p:sp>
        <p:nvSpPr>
          <p:cNvPr id="58" name="TextBox 14">
            <a:extLst>
              <a:ext uri="{FF2B5EF4-FFF2-40B4-BE49-F238E27FC236}">
                <a16:creationId xmlns:a16="http://schemas.microsoft.com/office/drawing/2014/main" id="{0F37DCBA-AB64-1426-0B32-17C712436F18}"/>
              </a:ext>
            </a:extLst>
          </p:cNvPr>
          <p:cNvSpPr txBox="1"/>
          <p:nvPr/>
        </p:nvSpPr>
        <p:spPr>
          <a:xfrm>
            <a:off x="7783521" y="4703474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000" dirty="0">
                <a:solidFill>
                  <a:prstClr val="black"/>
                </a:solidFill>
                <a:latin typeface="Arial"/>
              </a:rPr>
              <a:t>Služb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TextBox 27">
            <a:extLst>
              <a:ext uri="{FF2B5EF4-FFF2-40B4-BE49-F238E27FC236}">
                <a16:creationId xmlns:a16="http://schemas.microsoft.com/office/drawing/2014/main" id="{30B6A277-3896-77AF-61E9-CF16161F705D}"/>
              </a:ext>
            </a:extLst>
          </p:cNvPr>
          <p:cNvSpPr txBox="1"/>
          <p:nvPr/>
        </p:nvSpPr>
        <p:spPr>
          <a:xfrm>
            <a:off x="9449556" y="469394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tatní</a:t>
            </a:r>
          </a:p>
        </p:txBody>
      </p:sp>
    </p:spTree>
    <p:extLst>
      <p:ext uri="{BB962C8B-B14F-4D97-AF65-F5344CB8AC3E}">
        <p14:creationId xmlns:p14="http://schemas.microsoft.com/office/powerpoint/2010/main" val="12478611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31800"/>
            <a:ext cx="11382428" cy="480131"/>
          </a:xfrm>
        </p:spPr>
        <p:txBody>
          <a:bodyPr/>
          <a:lstStyle/>
          <a:p>
            <a:r>
              <a:rPr lang="cs-CZ" dirty="0"/>
              <a:t>Výzkumné pozadí</a:t>
            </a:r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10E8A2A-96A3-40E3-A68A-60D09FA9E6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sp>
        <p:nvSpPr>
          <p:cNvPr id="5" name="Obdélník 9">
            <a:extLst>
              <a:ext uri="{FF2B5EF4-FFF2-40B4-BE49-F238E27FC236}">
                <a16:creationId xmlns:a16="http://schemas.microsoft.com/office/drawing/2014/main" id="{1275A7CB-6E28-3376-CF99-951EE42EC4B0}"/>
              </a:ext>
            </a:extLst>
          </p:cNvPr>
          <p:cNvSpPr/>
          <p:nvPr/>
        </p:nvSpPr>
        <p:spPr>
          <a:xfrm>
            <a:off x="2268881" y="4798739"/>
            <a:ext cx="785809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Hlavním cílem výzkumu bylo </a:t>
            </a:r>
            <a:r>
              <a:rPr lang="cs-CZ" sz="2000" b="1" dirty="0">
                <a:solidFill>
                  <a:srgbClr val="ED6737"/>
                </a:solidFill>
              </a:rPr>
              <a:t>zjistit aktuální přístup malých </a:t>
            </a:r>
            <a:br>
              <a:rPr lang="cs-CZ" sz="2000" b="1" dirty="0">
                <a:solidFill>
                  <a:srgbClr val="ED6737"/>
                </a:solidFill>
              </a:rPr>
            </a:br>
            <a:r>
              <a:rPr lang="cs-CZ" sz="2000" b="1" dirty="0">
                <a:solidFill>
                  <a:srgbClr val="ED6737"/>
                </a:solidFill>
              </a:rPr>
              <a:t>a středních firem k oblasti duševního vlastnictví.</a:t>
            </a:r>
          </a:p>
        </p:txBody>
      </p:sp>
      <p:sp>
        <p:nvSpPr>
          <p:cNvPr id="6" name="Šipka: ohnutá nahoru 10">
            <a:extLst>
              <a:ext uri="{FF2B5EF4-FFF2-40B4-BE49-F238E27FC236}">
                <a16:creationId xmlns:a16="http://schemas.microsoft.com/office/drawing/2014/main" id="{E135EC62-5737-6DC8-4A66-A778058F3866}"/>
              </a:ext>
            </a:extLst>
          </p:cNvPr>
          <p:cNvSpPr/>
          <p:nvPr/>
        </p:nvSpPr>
        <p:spPr>
          <a:xfrm rot="5400000">
            <a:off x="1322110" y="4715096"/>
            <a:ext cx="799651" cy="707886"/>
          </a:xfrm>
          <a:prstGeom prst="bentUpArrow">
            <a:avLst>
              <a:gd name="adj1" fmla="val 28230"/>
              <a:gd name="adj2" fmla="val 29844"/>
              <a:gd name="adj3" fmla="val 3953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: se zakulacenými rohy 45">
            <a:extLst>
              <a:ext uri="{FF2B5EF4-FFF2-40B4-BE49-F238E27FC236}">
                <a16:creationId xmlns:a16="http://schemas.microsoft.com/office/drawing/2014/main" id="{925A96CF-8607-3741-93D8-55C5AD4FA63C}"/>
              </a:ext>
            </a:extLst>
          </p:cNvPr>
          <p:cNvSpPr/>
          <p:nvPr/>
        </p:nvSpPr>
        <p:spPr>
          <a:xfrm>
            <a:off x="2268881" y="4625887"/>
            <a:ext cx="7858100" cy="1063714"/>
          </a:xfrm>
          <a:prstGeom prst="roundRect">
            <a:avLst/>
          </a:prstGeom>
          <a:noFill/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CA69440-1050-5555-BD2A-A514A015484D}"/>
              </a:ext>
            </a:extLst>
          </p:cNvPr>
          <p:cNvSpPr txBox="1"/>
          <p:nvPr/>
        </p:nvSpPr>
        <p:spPr>
          <a:xfrm>
            <a:off x="3238499" y="1216528"/>
            <a:ext cx="7715249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dirty="0">
                <a:solidFill>
                  <a:schemeClr val="bg1"/>
                </a:solidFill>
              </a:rPr>
              <a:t>Úřad průmyslového vlastnictví (lidově patentový úřad) je ústřední orgán státní správy České republiky, v jehož působnosti je ochrana průmyslového vlastnictví, zejména plní funkci patentového a známkového úřadu. </a:t>
            </a:r>
            <a:br>
              <a:rPr lang="cs-CZ" dirty="0">
                <a:solidFill>
                  <a:schemeClr val="bg1"/>
                </a:solidFill>
              </a:rPr>
            </a:br>
            <a:br>
              <a:rPr lang="cs-CZ" dirty="0">
                <a:solidFill>
                  <a:schemeClr val="bg1"/>
                </a:solidFill>
              </a:rPr>
            </a:br>
            <a:r>
              <a:rPr lang="cs-CZ" dirty="0">
                <a:solidFill>
                  <a:schemeClr val="bg1"/>
                </a:solidFill>
              </a:rPr>
              <a:t>Mezi jeho činnosti patří především udělování patentů a vedení rejstříků ochranných známek. Dále se zabývá ochranou průmyslových vzorů, užitných vzorů, topografie polovodičových výrobků, zeměpisných označení a označení původu výrobků. V těchto oblastech úřad rozhoduje ve správním řízení.</a:t>
            </a:r>
          </a:p>
        </p:txBody>
      </p:sp>
      <p:pic>
        <p:nvPicPr>
          <p:cNvPr id="1026" name="Picture 2" descr="Úřad průmyslového vlastnictví – DigiKoalice">
            <a:extLst>
              <a:ext uri="{FF2B5EF4-FFF2-40B4-BE49-F238E27FC236}">
                <a16:creationId xmlns:a16="http://schemas.microsoft.com/office/drawing/2014/main" id="{CB46CEDA-0B0B-6FFF-311B-797EC6FCD2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749" y="1289498"/>
            <a:ext cx="2324100" cy="784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4097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6688944"/>
              </p:ext>
            </p:extLst>
          </p:nvPr>
        </p:nvGraphicFramePr>
        <p:xfrm>
          <a:off x="499756" y="1755847"/>
          <a:ext cx="7386073" cy="37100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141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20152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925866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925866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</a:tblGrid>
              <a:tr h="381678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chranné známky EU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árodní ochranné známk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žitné vzor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tent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árodní zapsané průmyslové vzor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lší alternativní opatření ochrany (např. doménová jména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apsané průmyslové vzory Společenstv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678697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Šlechtitelská práva/odrůdová práv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560508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ví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521981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2995902"/>
              </p:ext>
            </p:extLst>
          </p:nvPr>
        </p:nvGraphicFramePr>
        <p:xfrm>
          <a:off x="4439907" y="1678649"/>
          <a:ext cx="2439065" cy="377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214815" cy="701731"/>
          </a:xfrm>
        </p:spPr>
        <p:txBody>
          <a:bodyPr/>
          <a:lstStyle/>
          <a:p>
            <a:r>
              <a:rPr lang="cs-CZ" sz="2200" dirty="0"/>
              <a:t>FIRMY NEJČASTĚJI VLASTNÍ OCHRANNÉ ZNÁMKY EU, NÁRODNÍ OCHRANNÉ ZNÁMKY, UŽITNÉ VZORY A PATENTY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10459125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dirty="0">
                <a:solidFill>
                  <a:prstClr val="black"/>
                </a:solidFill>
                <a:latin typeface="Arial Black"/>
              </a:rPr>
              <a:t>Vlastněná práva duševního vlastnictví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2a. Jaká registrovaná práva duševního vlastnictví Vaše společnost vlastní?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94/41/53 (báze ti, kteří vlastní nějaká registrovaná práva duševního vlastnictví)</a:t>
            </a:r>
            <a:endParaRPr lang="en-US" sz="11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32624666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0038253"/>
              </p:ext>
            </p:extLst>
          </p:nvPr>
        </p:nvGraphicFramePr>
        <p:xfrm>
          <a:off x="499756" y="1755846"/>
          <a:ext cx="7386073" cy="37024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141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20152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925866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925866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</a:tblGrid>
              <a:tr h="543401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651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chodní tajemstv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651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torská práv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651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áva k databází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52651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zapsaná práva k průmyslovým vzorů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651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Žádné z uvedených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651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ví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2343051"/>
              </p:ext>
            </p:extLst>
          </p:nvPr>
        </p:nvGraphicFramePr>
        <p:xfrm>
          <a:off x="4439908" y="1846989"/>
          <a:ext cx="2111894" cy="3611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214815" cy="701731"/>
          </a:xfrm>
        </p:spPr>
        <p:txBody>
          <a:bodyPr/>
          <a:lstStyle/>
          <a:p>
            <a:r>
              <a:rPr lang="cs-CZ" sz="2200" dirty="0"/>
              <a:t>DALŠÍMI VLASTNĚNÝMI PRÁVY DUŠEVNÍHO VLASTNICTVÍ JSOU OBCHODNÍ TAJEMSTVÍ, AUTORSKÁ PRÁVA A PRÁVA K DATABÁZÍM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10459125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dirty="0">
                <a:solidFill>
                  <a:prstClr val="black"/>
                </a:solidFill>
                <a:latin typeface="Arial Black"/>
              </a:rPr>
              <a:t>Další vlastněná práva duševního vlastnictví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2b. Jaká další práva duševního vlastnictví Vaše společnost vlastní?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94/41/53 (báze ti, kteří vlastní nějaká registrovaná práva duševního vlastnictví)</a:t>
            </a:r>
            <a:endParaRPr lang="en-US" sz="11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35593767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1356579" cy="701731"/>
          </a:xfrm>
        </p:spPr>
        <p:txBody>
          <a:bodyPr/>
          <a:lstStyle/>
          <a:p>
            <a:r>
              <a:rPr lang="cs-CZ" sz="2200" dirty="0"/>
              <a:t>TÉMĚŘ TŘETINA DOTAZOVANÝCH FIREM ZAHRNUJE DUŠEVNÍ VLASTNICTVÍ DO SVÉ OBCHODNÍ STRATEGIE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97595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Zahrnuje Vaše společnost duševní vlastnictví do své obchodní strategie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38543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3. Zahrnuje Vaše společnost duševní vlastnictví do své obchodní strategie/obchodního plánu?</a:t>
            </a:r>
          </a:p>
          <a:p>
            <a:pPr defTabSz="914355">
              <a:lnSpc>
                <a:spcPts val="1400"/>
              </a:lnSpc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=305/196/109/93/33/152/60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4112625741"/>
              </p:ext>
            </p:extLst>
          </p:nvPr>
        </p:nvGraphicFramePr>
        <p:xfrm>
          <a:off x="454288" y="2515878"/>
          <a:ext cx="3127112" cy="299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40613" y="3826374"/>
            <a:ext cx="1102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em</a:t>
            </a:r>
          </a:p>
        </p:txBody>
      </p:sp>
      <p:sp>
        <p:nvSpPr>
          <p:cNvPr id="7" name="Rectangle 6"/>
          <p:cNvSpPr/>
          <p:nvPr/>
        </p:nvSpPr>
        <p:spPr>
          <a:xfrm>
            <a:off x="4005469" y="1730222"/>
            <a:ext cx="166591" cy="18288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87184" y="1655009"/>
            <a:ext cx="526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713891" y="1737842"/>
            <a:ext cx="175260" cy="1752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843944" y="1653803"/>
            <a:ext cx="602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</a:t>
            </a:r>
          </a:p>
        </p:txBody>
      </p:sp>
      <p:sp>
        <p:nvSpPr>
          <p:cNvPr id="8" name="Zástupný symbol pro zápatí 2">
            <a:extLst>
              <a:ext uri="{FF2B5EF4-FFF2-40B4-BE49-F238E27FC236}">
                <a16:creationId xmlns:a16="http://schemas.microsoft.com/office/drawing/2014/main" id="{AC696590-8929-E4DB-BAC7-33EAF70E00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C8C29D9-8ACE-104E-F21D-F63DA1CF8030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cky signifikantní </a:t>
            </a: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007D4C5E-96CF-9341-1400-6DBFF4D989CF}"/>
              </a:ext>
            </a:extLst>
          </p:cNvPr>
          <p:cNvSpPr/>
          <p:nvPr/>
        </p:nvSpPr>
        <p:spPr>
          <a:xfrm>
            <a:off x="5270253" y="1739929"/>
            <a:ext cx="175260" cy="17526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C06AB0DE-31AD-FD68-3845-B7F8C84D9E60}"/>
              </a:ext>
            </a:extLst>
          </p:cNvPr>
          <p:cNvSpPr txBox="1"/>
          <p:nvPr/>
        </p:nvSpPr>
        <p:spPr>
          <a:xfrm>
            <a:off x="5400305" y="1655890"/>
            <a:ext cx="1126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vím</a:t>
            </a:r>
          </a:p>
        </p:txBody>
      </p:sp>
      <p:graphicFrame>
        <p:nvGraphicFramePr>
          <p:cNvPr id="16" name="Chart 21">
            <a:extLst>
              <a:ext uri="{FF2B5EF4-FFF2-40B4-BE49-F238E27FC236}">
                <a16:creationId xmlns:a16="http://schemas.microsoft.com/office/drawing/2014/main" id="{6F2CF105-0189-D0BC-D8FF-EE6965C5E3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4078185"/>
              </p:ext>
            </p:extLst>
          </p:nvPr>
        </p:nvGraphicFramePr>
        <p:xfrm>
          <a:off x="3629165" y="223981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4">
            <a:extLst>
              <a:ext uri="{FF2B5EF4-FFF2-40B4-BE49-F238E27FC236}">
                <a16:creationId xmlns:a16="http://schemas.microsoft.com/office/drawing/2014/main" id="{66C1C265-BE6D-F5C4-CE5A-9DAB829E5FF3}"/>
              </a:ext>
            </a:extLst>
          </p:cNvPr>
          <p:cNvSpPr txBox="1"/>
          <p:nvPr/>
        </p:nvSpPr>
        <p:spPr>
          <a:xfrm>
            <a:off x="4383096" y="287467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-49 zaměstnanců</a:t>
            </a:r>
          </a:p>
        </p:txBody>
      </p:sp>
      <p:sp>
        <p:nvSpPr>
          <p:cNvPr id="18" name="TextBox 27">
            <a:extLst>
              <a:ext uri="{FF2B5EF4-FFF2-40B4-BE49-F238E27FC236}">
                <a16:creationId xmlns:a16="http://schemas.microsoft.com/office/drawing/2014/main" id="{B59326C6-BEC5-C939-EC18-F8C9B2D87A1C}"/>
              </a:ext>
            </a:extLst>
          </p:cNvPr>
          <p:cNvSpPr txBox="1"/>
          <p:nvPr/>
        </p:nvSpPr>
        <p:spPr>
          <a:xfrm>
            <a:off x="6077706" y="285562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-249 zaměstnanců</a:t>
            </a:r>
          </a:p>
        </p:txBody>
      </p:sp>
      <p:grpSp>
        <p:nvGrpSpPr>
          <p:cNvPr id="20" name="Group 62">
            <a:extLst>
              <a:ext uri="{FF2B5EF4-FFF2-40B4-BE49-F238E27FC236}">
                <a16:creationId xmlns:a16="http://schemas.microsoft.com/office/drawing/2014/main" id="{636F8DBA-32DA-6D39-ADF4-83F7175E6437}"/>
              </a:ext>
            </a:extLst>
          </p:cNvPr>
          <p:cNvGrpSpPr>
            <a:grpSpLocks noChangeAspect="1"/>
          </p:cNvGrpSpPr>
          <p:nvPr/>
        </p:nvGrpSpPr>
        <p:grpSpPr>
          <a:xfrm>
            <a:off x="70620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88F082BD-4F95-4ACA-8FD9-F4F8FEF8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4" name="Group 178">
              <a:extLst>
                <a:ext uri="{FF2B5EF4-FFF2-40B4-BE49-F238E27FC236}">
                  <a16:creationId xmlns:a16="http://schemas.microsoft.com/office/drawing/2014/main" id="{D578F2C6-E6BE-3D57-BD58-94E60BD9DEB6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5B2925CA-62AF-B69B-CFC2-6DB6C2E4B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001547BB-7076-5AF4-5215-2E0F9717E7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36" name="Chart 21">
            <a:extLst>
              <a:ext uri="{FF2B5EF4-FFF2-40B4-BE49-F238E27FC236}">
                <a16:creationId xmlns:a16="http://schemas.microsoft.com/office/drawing/2014/main" id="{873F07C9-2E33-707D-CD24-4869633ADE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5748238"/>
              </p:ext>
            </p:extLst>
          </p:nvPr>
        </p:nvGraphicFramePr>
        <p:xfrm>
          <a:off x="5296040" y="224934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7" name="Chart 21">
            <a:extLst>
              <a:ext uri="{FF2B5EF4-FFF2-40B4-BE49-F238E27FC236}">
                <a16:creationId xmlns:a16="http://schemas.microsoft.com/office/drawing/2014/main" id="{4749BB0F-E66D-98A7-0B23-7D672A6BA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4367332"/>
              </p:ext>
            </p:extLst>
          </p:nvPr>
        </p:nvGraphicFramePr>
        <p:xfrm>
          <a:off x="3638690" y="39352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8" name="TextBox 14">
            <a:extLst>
              <a:ext uri="{FF2B5EF4-FFF2-40B4-BE49-F238E27FC236}">
                <a16:creationId xmlns:a16="http://schemas.microsoft.com/office/drawing/2014/main" id="{426708B5-B86C-329F-2995-D34B0F7305CD}"/>
              </a:ext>
            </a:extLst>
          </p:cNvPr>
          <p:cNvSpPr txBox="1"/>
          <p:nvPr/>
        </p:nvSpPr>
        <p:spPr>
          <a:xfrm>
            <a:off x="4401471" y="4733537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ýroba</a:t>
            </a:r>
          </a:p>
        </p:txBody>
      </p:sp>
      <p:grpSp>
        <p:nvGrpSpPr>
          <p:cNvPr id="39" name="Group 62">
            <a:extLst>
              <a:ext uri="{FF2B5EF4-FFF2-40B4-BE49-F238E27FC236}">
                <a16:creationId xmlns:a16="http://schemas.microsoft.com/office/drawing/2014/main" id="{BC8A714C-0F75-20BE-B0D8-2BE85E200DDD}"/>
              </a:ext>
            </a:extLst>
          </p:cNvPr>
          <p:cNvGrpSpPr>
            <a:grpSpLocks noChangeAspect="1"/>
          </p:cNvGrpSpPr>
          <p:nvPr/>
        </p:nvGrpSpPr>
        <p:grpSpPr>
          <a:xfrm>
            <a:off x="7071612" y="539422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4D189D1D-E923-C365-95B8-52247181C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1" name="Group 178">
              <a:extLst>
                <a:ext uri="{FF2B5EF4-FFF2-40B4-BE49-F238E27FC236}">
                  <a16:creationId xmlns:a16="http://schemas.microsoft.com/office/drawing/2014/main" id="{CA1FA952-0F3D-74CB-8EA7-42242206A9D5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42" name="Freeform 10">
                <a:extLst>
                  <a:ext uri="{FF2B5EF4-FFF2-40B4-BE49-F238E27FC236}">
                    <a16:creationId xmlns:a16="http://schemas.microsoft.com/office/drawing/2014/main" id="{0740B0E7-C8B0-1A39-FF81-12128930C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12">
                <a:extLst>
                  <a:ext uri="{FF2B5EF4-FFF2-40B4-BE49-F238E27FC236}">
                    <a16:creationId xmlns:a16="http://schemas.microsoft.com/office/drawing/2014/main" id="{BFCD700C-61D7-90F6-751C-AF83934FA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44" name="Chart 21">
            <a:extLst>
              <a:ext uri="{FF2B5EF4-FFF2-40B4-BE49-F238E27FC236}">
                <a16:creationId xmlns:a16="http://schemas.microsoft.com/office/drawing/2014/main" id="{FB278810-180A-7569-0D96-C83DF6407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7885039"/>
              </p:ext>
            </p:extLst>
          </p:nvPr>
        </p:nvGraphicFramePr>
        <p:xfrm>
          <a:off x="5305565" y="394479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45" name="Group 62">
            <a:extLst>
              <a:ext uri="{FF2B5EF4-FFF2-40B4-BE49-F238E27FC236}">
                <a16:creationId xmlns:a16="http://schemas.microsoft.com/office/drawing/2014/main" id="{E4979F08-5335-B9C9-959C-81A4F00310CE}"/>
              </a:ext>
            </a:extLst>
          </p:cNvPr>
          <p:cNvGrpSpPr>
            <a:grpSpLocks noChangeAspect="1"/>
          </p:cNvGrpSpPr>
          <p:nvPr/>
        </p:nvGrpSpPr>
        <p:grpSpPr>
          <a:xfrm>
            <a:off x="104529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4DBBB1C2-9861-3F45-A22B-ADB0F7FD5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7" name="Group 178">
              <a:extLst>
                <a:ext uri="{FF2B5EF4-FFF2-40B4-BE49-F238E27FC236}">
                  <a16:creationId xmlns:a16="http://schemas.microsoft.com/office/drawing/2014/main" id="{EEEA4121-4534-6071-B7F2-5315281E4F23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48" name="Freeform 10">
                <a:extLst>
                  <a:ext uri="{FF2B5EF4-FFF2-40B4-BE49-F238E27FC236}">
                    <a16:creationId xmlns:a16="http://schemas.microsoft.com/office/drawing/2014/main" id="{8B18B1E6-F5AC-6756-EA1C-3CF47C2E3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12">
                <a:extLst>
                  <a:ext uri="{FF2B5EF4-FFF2-40B4-BE49-F238E27FC236}">
                    <a16:creationId xmlns:a16="http://schemas.microsoft.com/office/drawing/2014/main" id="{964FA66F-4445-CF61-BF1B-22C157FB5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50" name="Chart 21">
            <a:extLst>
              <a:ext uri="{FF2B5EF4-FFF2-40B4-BE49-F238E27FC236}">
                <a16:creationId xmlns:a16="http://schemas.microsoft.com/office/drawing/2014/main" id="{E6625B5A-9D78-CD19-7C64-1EF6754A53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80279477"/>
              </p:ext>
            </p:extLst>
          </p:nvPr>
        </p:nvGraphicFramePr>
        <p:xfrm>
          <a:off x="7029590" y="39352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51" name="Group 62">
            <a:extLst>
              <a:ext uri="{FF2B5EF4-FFF2-40B4-BE49-F238E27FC236}">
                <a16:creationId xmlns:a16="http://schemas.microsoft.com/office/drawing/2014/main" id="{6D324837-DBF6-F4C2-E9ED-39380A2E04CC}"/>
              </a:ext>
            </a:extLst>
          </p:cNvPr>
          <p:cNvGrpSpPr>
            <a:grpSpLocks noChangeAspect="1"/>
          </p:cNvGrpSpPr>
          <p:nvPr/>
        </p:nvGrpSpPr>
        <p:grpSpPr>
          <a:xfrm>
            <a:off x="10462512" y="539422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D36B84E6-BA98-2B86-F6E4-835376EAC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3" name="Group 178">
              <a:extLst>
                <a:ext uri="{FF2B5EF4-FFF2-40B4-BE49-F238E27FC236}">
                  <a16:creationId xmlns:a16="http://schemas.microsoft.com/office/drawing/2014/main" id="{7F9D7CDC-49E9-0CAE-BD20-13D70E21D86D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54" name="Freeform 10">
                <a:extLst>
                  <a:ext uri="{FF2B5EF4-FFF2-40B4-BE49-F238E27FC236}">
                    <a16:creationId xmlns:a16="http://schemas.microsoft.com/office/drawing/2014/main" id="{25C3B09F-9056-E5BC-5F39-1366C80CC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12">
                <a:extLst>
                  <a:ext uri="{FF2B5EF4-FFF2-40B4-BE49-F238E27FC236}">
                    <a16:creationId xmlns:a16="http://schemas.microsoft.com/office/drawing/2014/main" id="{B54B25AD-2814-D2C1-AE11-274BB0E29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56" name="Chart 21">
            <a:extLst>
              <a:ext uri="{FF2B5EF4-FFF2-40B4-BE49-F238E27FC236}">
                <a16:creationId xmlns:a16="http://schemas.microsoft.com/office/drawing/2014/main" id="{5391F478-4D6D-5A4E-197A-183958D2E1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19252561"/>
              </p:ext>
            </p:extLst>
          </p:nvPr>
        </p:nvGraphicFramePr>
        <p:xfrm>
          <a:off x="8696465" y="394479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7" name="TextBox 27">
            <a:extLst>
              <a:ext uri="{FF2B5EF4-FFF2-40B4-BE49-F238E27FC236}">
                <a16:creationId xmlns:a16="http://schemas.microsoft.com/office/drawing/2014/main" id="{3A1E7CA1-6083-F0BE-2516-E9113B05C3A4}"/>
              </a:ext>
            </a:extLst>
          </p:cNvPr>
          <p:cNvSpPr txBox="1"/>
          <p:nvPr/>
        </p:nvSpPr>
        <p:spPr>
          <a:xfrm>
            <a:off x="6077706" y="471299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chod</a:t>
            </a:r>
          </a:p>
        </p:txBody>
      </p:sp>
      <p:sp>
        <p:nvSpPr>
          <p:cNvPr id="58" name="TextBox 14">
            <a:extLst>
              <a:ext uri="{FF2B5EF4-FFF2-40B4-BE49-F238E27FC236}">
                <a16:creationId xmlns:a16="http://schemas.microsoft.com/office/drawing/2014/main" id="{E94F99D0-D315-2E9E-D38A-32D9E4099113}"/>
              </a:ext>
            </a:extLst>
          </p:cNvPr>
          <p:cNvSpPr txBox="1"/>
          <p:nvPr/>
        </p:nvSpPr>
        <p:spPr>
          <a:xfrm>
            <a:off x="7783521" y="4703474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000" dirty="0">
                <a:solidFill>
                  <a:prstClr val="black"/>
                </a:solidFill>
                <a:latin typeface="Arial"/>
              </a:rPr>
              <a:t>Služby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TextBox 27">
            <a:extLst>
              <a:ext uri="{FF2B5EF4-FFF2-40B4-BE49-F238E27FC236}">
                <a16:creationId xmlns:a16="http://schemas.microsoft.com/office/drawing/2014/main" id="{29388A0D-AEA3-D941-087A-75F591D20F53}"/>
              </a:ext>
            </a:extLst>
          </p:cNvPr>
          <p:cNvSpPr txBox="1"/>
          <p:nvPr/>
        </p:nvSpPr>
        <p:spPr>
          <a:xfrm>
            <a:off x="9449556" y="469394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tatní</a:t>
            </a:r>
          </a:p>
        </p:txBody>
      </p:sp>
    </p:spTree>
    <p:extLst>
      <p:ext uri="{BB962C8B-B14F-4D97-AF65-F5344CB8AC3E}">
        <p14:creationId xmlns:p14="http://schemas.microsoft.com/office/powerpoint/2010/main" val="39473460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1356579" cy="701731"/>
          </a:xfrm>
        </p:spPr>
        <p:txBody>
          <a:bodyPr/>
          <a:lstStyle/>
          <a:p>
            <a:r>
              <a:rPr lang="cs-CZ" sz="2200" dirty="0"/>
              <a:t>Přibližně třetina podniků v minulosti podepsala licenční smlouvu zahrnující práva duševního vlastnictví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97595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odepsal podnik někdy licenční smlouvu zahrnující práva duševního vlastnictví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38543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32. Podepsali jste někdy Vy nebo Vaše společnost licenční smlouvu zahrnující práva duševního vlastnictví?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305/196/109/93/33/152/60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2276234736"/>
              </p:ext>
            </p:extLst>
          </p:nvPr>
        </p:nvGraphicFramePr>
        <p:xfrm>
          <a:off x="454288" y="2515878"/>
          <a:ext cx="3127112" cy="299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40613" y="3826374"/>
            <a:ext cx="1102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em</a:t>
            </a:r>
          </a:p>
        </p:txBody>
      </p:sp>
      <p:sp>
        <p:nvSpPr>
          <p:cNvPr id="7" name="Rectangle 6"/>
          <p:cNvSpPr/>
          <p:nvPr/>
        </p:nvSpPr>
        <p:spPr>
          <a:xfrm>
            <a:off x="4005469" y="1730222"/>
            <a:ext cx="166591" cy="18288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87184" y="1655009"/>
            <a:ext cx="526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713891" y="1737842"/>
            <a:ext cx="175260" cy="1752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843944" y="1653803"/>
            <a:ext cx="602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</a:t>
            </a:r>
          </a:p>
        </p:txBody>
      </p:sp>
      <p:sp>
        <p:nvSpPr>
          <p:cNvPr id="8" name="Zástupný symbol pro zápatí 2">
            <a:extLst>
              <a:ext uri="{FF2B5EF4-FFF2-40B4-BE49-F238E27FC236}">
                <a16:creationId xmlns:a16="http://schemas.microsoft.com/office/drawing/2014/main" id="{AC696590-8929-E4DB-BAC7-33EAF70E00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C8C29D9-8ACE-104E-F21D-F63DA1CF8030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cky signifikantní </a:t>
            </a: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007D4C5E-96CF-9341-1400-6DBFF4D989CF}"/>
              </a:ext>
            </a:extLst>
          </p:cNvPr>
          <p:cNvSpPr/>
          <p:nvPr/>
        </p:nvSpPr>
        <p:spPr>
          <a:xfrm>
            <a:off x="5270253" y="1739929"/>
            <a:ext cx="175260" cy="17526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C06AB0DE-31AD-FD68-3845-B7F8C84D9E60}"/>
              </a:ext>
            </a:extLst>
          </p:cNvPr>
          <p:cNvSpPr txBox="1"/>
          <p:nvPr/>
        </p:nvSpPr>
        <p:spPr>
          <a:xfrm>
            <a:off x="5400305" y="1655890"/>
            <a:ext cx="1126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vím</a:t>
            </a:r>
          </a:p>
        </p:txBody>
      </p:sp>
      <p:graphicFrame>
        <p:nvGraphicFramePr>
          <p:cNvPr id="16" name="Chart 21">
            <a:extLst>
              <a:ext uri="{FF2B5EF4-FFF2-40B4-BE49-F238E27FC236}">
                <a16:creationId xmlns:a16="http://schemas.microsoft.com/office/drawing/2014/main" id="{6F2CF105-0189-D0BC-D8FF-EE6965C5E3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7261366"/>
              </p:ext>
            </p:extLst>
          </p:nvPr>
        </p:nvGraphicFramePr>
        <p:xfrm>
          <a:off x="3629165" y="223981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4">
            <a:extLst>
              <a:ext uri="{FF2B5EF4-FFF2-40B4-BE49-F238E27FC236}">
                <a16:creationId xmlns:a16="http://schemas.microsoft.com/office/drawing/2014/main" id="{66C1C265-BE6D-F5C4-CE5A-9DAB829E5FF3}"/>
              </a:ext>
            </a:extLst>
          </p:cNvPr>
          <p:cNvSpPr txBox="1"/>
          <p:nvPr/>
        </p:nvSpPr>
        <p:spPr>
          <a:xfrm>
            <a:off x="4383096" y="287467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-49 zaměstnanců</a:t>
            </a:r>
          </a:p>
        </p:txBody>
      </p:sp>
      <p:sp>
        <p:nvSpPr>
          <p:cNvPr id="18" name="TextBox 27">
            <a:extLst>
              <a:ext uri="{FF2B5EF4-FFF2-40B4-BE49-F238E27FC236}">
                <a16:creationId xmlns:a16="http://schemas.microsoft.com/office/drawing/2014/main" id="{B59326C6-BEC5-C939-EC18-F8C9B2D87A1C}"/>
              </a:ext>
            </a:extLst>
          </p:cNvPr>
          <p:cNvSpPr txBox="1"/>
          <p:nvPr/>
        </p:nvSpPr>
        <p:spPr>
          <a:xfrm>
            <a:off x="6077706" y="285562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-249 zaměstnanců</a:t>
            </a:r>
          </a:p>
        </p:txBody>
      </p:sp>
      <p:grpSp>
        <p:nvGrpSpPr>
          <p:cNvPr id="20" name="Group 62">
            <a:extLst>
              <a:ext uri="{FF2B5EF4-FFF2-40B4-BE49-F238E27FC236}">
                <a16:creationId xmlns:a16="http://schemas.microsoft.com/office/drawing/2014/main" id="{636F8DBA-32DA-6D39-ADF4-83F7175E6437}"/>
              </a:ext>
            </a:extLst>
          </p:cNvPr>
          <p:cNvGrpSpPr>
            <a:grpSpLocks noChangeAspect="1"/>
          </p:cNvGrpSpPr>
          <p:nvPr/>
        </p:nvGrpSpPr>
        <p:grpSpPr>
          <a:xfrm>
            <a:off x="70620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88F082BD-4F95-4ACA-8FD9-F4F8FEF8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4" name="Group 178">
              <a:extLst>
                <a:ext uri="{FF2B5EF4-FFF2-40B4-BE49-F238E27FC236}">
                  <a16:creationId xmlns:a16="http://schemas.microsoft.com/office/drawing/2014/main" id="{D578F2C6-E6BE-3D57-BD58-94E60BD9DEB6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5B2925CA-62AF-B69B-CFC2-6DB6C2E4B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001547BB-7076-5AF4-5215-2E0F9717E7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36" name="Chart 21">
            <a:extLst>
              <a:ext uri="{FF2B5EF4-FFF2-40B4-BE49-F238E27FC236}">
                <a16:creationId xmlns:a16="http://schemas.microsoft.com/office/drawing/2014/main" id="{873F07C9-2E33-707D-CD24-4869633ADE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3307871"/>
              </p:ext>
            </p:extLst>
          </p:nvPr>
        </p:nvGraphicFramePr>
        <p:xfrm>
          <a:off x="5296040" y="224934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7" name="Chart 21">
            <a:extLst>
              <a:ext uri="{FF2B5EF4-FFF2-40B4-BE49-F238E27FC236}">
                <a16:creationId xmlns:a16="http://schemas.microsoft.com/office/drawing/2014/main" id="{4749BB0F-E66D-98A7-0B23-7D672A6BA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049520"/>
              </p:ext>
            </p:extLst>
          </p:nvPr>
        </p:nvGraphicFramePr>
        <p:xfrm>
          <a:off x="3638690" y="39352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8" name="TextBox 14">
            <a:extLst>
              <a:ext uri="{FF2B5EF4-FFF2-40B4-BE49-F238E27FC236}">
                <a16:creationId xmlns:a16="http://schemas.microsoft.com/office/drawing/2014/main" id="{426708B5-B86C-329F-2995-D34B0F7305CD}"/>
              </a:ext>
            </a:extLst>
          </p:cNvPr>
          <p:cNvSpPr txBox="1"/>
          <p:nvPr/>
        </p:nvSpPr>
        <p:spPr>
          <a:xfrm>
            <a:off x="4401471" y="4733537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ýroba</a:t>
            </a:r>
          </a:p>
        </p:txBody>
      </p:sp>
      <p:grpSp>
        <p:nvGrpSpPr>
          <p:cNvPr id="39" name="Group 62">
            <a:extLst>
              <a:ext uri="{FF2B5EF4-FFF2-40B4-BE49-F238E27FC236}">
                <a16:creationId xmlns:a16="http://schemas.microsoft.com/office/drawing/2014/main" id="{BC8A714C-0F75-20BE-B0D8-2BE85E200DDD}"/>
              </a:ext>
            </a:extLst>
          </p:cNvPr>
          <p:cNvGrpSpPr>
            <a:grpSpLocks noChangeAspect="1"/>
          </p:cNvGrpSpPr>
          <p:nvPr/>
        </p:nvGrpSpPr>
        <p:grpSpPr>
          <a:xfrm>
            <a:off x="7071612" y="539422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4D189D1D-E923-C365-95B8-52247181C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1" name="Group 178">
              <a:extLst>
                <a:ext uri="{FF2B5EF4-FFF2-40B4-BE49-F238E27FC236}">
                  <a16:creationId xmlns:a16="http://schemas.microsoft.com/office/drawing/2014/main" id="{CA1FA952-0F3D-74CB-8EA7-42242206A9D5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42" name="Freeform 10">
                <a:extLst>
                  <a:ext uri="{FF2B5EF4-FFF2-40B4-BE49-F238E27FC236}">
                    <a16:creationId xmlns:a16="http://schemas.microsoft.com/office/drawing/2014/main" id="{0740B0E7-C8B0-1A39-FF81-12128930C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12">
                <a:extLst>
                  <a:ext uri="{FF2B5EF4-FFF2-40B4-BE49-F238E27FC236}">
                    <a16:creationId xmlns:a16="http://schemas.microsoft.com/office/drawing/2014/main" id="{BFCD700C-61D7-90F6-751C-AF83934FA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44" name="Chart 21">
            <a:extLst>
              <a:ext uri="{FF2B5EF4-FFF2-40B4-BE49-F238E27FC236}">
                <a16:creationId xmlns:a16="http://schemas.microsoft.com/office/drawing/2014/main" id="{FB278810-180A-7569-0D96-C83DF6407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2938369"/>
              </p:ext>
            </p:extLst>
          </p:nvPr>
        </p:nvGraphicFramePr>
        <p:xfrm>
          <a:off x="5305565" y="394479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45" name="Group 62">
            <a:extLst>
              <a:ext uri="{FF2B5EF4-FFF2-40B4-BE49-F238E27FC236}">
                <a16:creationId xmlns:a16="http://schemas.microsoft.com/office/drawing/2014/main" id="{E4979F08-5335-B9C9-959C-81A4F00310CE}"/>
              </a:ext>
            </a:extLst>
          </p:cNvPr>
          <p:cNvGrpSpPr>
            <a:grpSpLocks noChangeAspect="1"/>
          </p:cNvGrpSpPr>
          <p:nvPr/>
        </p:nvGrpSpPr>
        <p:grpSpPr>
          <a:xfrm>
            <a:off x="104529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4DBBB1C2-9861-3F45-A22B-ADB0F7FD5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7" name="Group 178">
              <a:extLst>
                <a:ext uri="{FF2B5EF4-FFF2-40B4-BE49-F238E27FC236}">
                  <a16:creationId xmlns:a16="http://schemas.microsoft.com/office/drawing/2014/main" id="{EEEA4121-4534-6071-B7F2-5315281E4F23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48" name="Freeform 10">
                <a:extLst>
                  <a:ext uri="{FF2B5EF4-FFF2-40B4-BE49-F238E27FC236}">
                    <a16:creationId xmlns:a16="http://schemas.microsoft.com/office/drawing/2014/main" id="{8B18B1E6-F5AC-6756-EA1C-3CF47C2E3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12">
                <a:extLst>
                  <a:ext uri="{FF2B5EF4-FFF2-40B4-BE49-F238E27FC236}">
                    <a16:creationId xmlns:a16="http://schemas.microsoft.com/office/drawing/2014/main" id="{964FA66F-4445-CF61-BF1B-22C157FB5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50" name="Chart 21">
            <a:extLst>
              <a:ext uri="{FF2B5EF4-FFF2-40B4-BE49-F238E27FC236}">
                <a16:creationId xmlns:a16="http://schemas.microsoft.com/office/drawing/2014/main" id="{E6625B5A-9D78-CD19-7C64-1EF6754A53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6199252"/>
              </p:ext>
            </p:extLst>
          </p:nvPr>
        </p:nvGraphicFramePr>
        <p:xfrm>
          <a:off x="7029590" y="39352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51" name="Group 62">
            <a:extLst>
              <a:ext uri="{FF2B5EF4-FFF2-40B4-BE49-F238E27FC236}">
                <a16:creationId xmlns:a16="http://schemas.microsoft.com/office/drawing/2014/main" id="{6D324837-DBF6-F4C2-E9ED-39380A2E04CC}"/>
              </a:ext>
            </a:extLst>
          </p:cNvPr>
          <p:cNvGrpSpPr>
            <a:grpSpLocks noChangeAspect="1"/>
          </p:cNvGrpSpPr>
          <p:nvPr/>
        </p:nvGrpSpPr>
        <p:grpSpPr>
          <a:xfrm>
            <a:off x="10462512" y="539422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D36B84E6-BA98-2B86-F6E4-835376EAC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3" name="Group 178">
              <a:extLst>
                <a:ext uri="{FF2B5EF4-FFF2-40B4-BE49-F238E27FC236}">
                  <a16:creationId xmlns:a16="http://schemas.microsoft.com/office/drawing/2014/main" id="{7F9D7CDC-49E9-0CAE-BD20-13D70E21D86D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54" name="Freeform 10">
                <a:extLst>
                  <a:ext uri="{FF2B5EF4-FFF2-40B4-BE49-F238E27FC236}">
                    <a16:creationId xmlns:a16="http://schemas.microsoft.com/office/drawing/2014/main" id="{25C3B09F-9056-E5BC-5F39-1366C80CC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12">
                <a:extLst>
                  <a:ext uri="{FF2B5EF4-FFF2-40B4-BE49-F238E27FC236}">
                    <a16:creationId xmlns:a16="http://schemas.microsoft.com/office/drawing/2014/main" id="{B54B25AD-2814-D2C1-AE11-274BB0E29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56" name="Chart 21">
            <a:extLst>
              <a:ext uri="{FF2B5EF4-FFF2-40B4-BE49-F238E27FC236}">
                <a16:creationId xmlns:a16="http://schemas.microsoft.com/office/drawing/2014/main" id="{5391F478-4D6D-5A4E-197A-183958D2E1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0442439"/>
              </p:ext>
            </p:extLst>
          </p:nvPr>
        </p:nvGraphicFramePr>
        <p:xfrm>
          <a:off x="8696465" y="394479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7" name="TextBox 27">
            <a:extLst>
              <a:ext uri="{FF2B5EF4-FFF2-40B4-BE49-F238E27FC236}">
                <a16:creationId xmlns:a16="http://schemas.microsoft.com/office/drawing/2014/main" id="{3A1E7CA1-6083-F0BE-2516-E9113B05C3A4}"/>
              </a:ext>
            </a:extLst>
          </p:cNvPr>
          <p:cNvSpPr txBox="1"/>
          <p:nvPr/>
        </p:nvSpPr>
        <p:spPr>
          <a:xfrm>
            <a:off x="6077706" y="471299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chod</a:t>
            </a:r>
          </a:p>
        </p:txBody>
      </p:sp>
      <p:sp>
        <p:nvSpPr>
          <p:cNvPr id="58" name="TextBox 14">
            <a:extLst>
              <a:ext uri="{FF2B5EF4-FFF2-40B4-BE49-F238E27FC236}">
                <a16:creationId xmlns:a16="http://schemas.microsoft.com/office/drawing/2014/main" id="{E94F99D0-D315-2E9E-D38A-32D9E4099113}"/>
              </a:ext>
            </a:extLst>
          </p:cNvPr>
          <p:cNvSpPr txBox="1"/>
          <p:nvPr/>
        </p:nvSpPr>
        <p:spPr>
          <a:xfrm>
            <a:off x="7783521" y="4703474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lužby</a:t>
            </a:r>
          </a:p>
        </p:txBody>
      </p:sp>
      <p:sp>
        <p:nvSpPr>
          <p:cNvPr id="59" name="TextBox 27">
            <a:extLst>
              <a:ext uri="{FF2B5EF4-FFF2-40B4-BE49-F238E27FC236}">
                <a16:creationId xmlns:a16="http://schemas.microsoft.com/office/drawing/2014/main" id="{29388A0D-AEA3-D941-087A-75F591D20F53}"/>
              </a:ext>
            </a:extLst>
          </p:cNvPr>
          <p:cNvSpPr txBox="1"/>
          <p:nvPr/>
        </p:nvSpPr>
        <p:spPr>
          <a:xfrm>
            <a:off x="9449556" y="469394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tatní</a:t>
            </a:r>
          </a:p>
        </p:txBody>
      </p:sp>
    </p:spTree>
    <p:extLst>
      <p:ext uri="{BB962C8B-B14F-4D97-AF65-F5344CB8AC3E}">
        <p14:creationId xmlns:p14="http://schemas.microsoft.com/office/powerpoint/2010/main" val="38070173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6287769"/>
              </p:ext>
            </p:extLst>
          </p:nvPr>
        </p:nvGraphicFramePr>
        <p:xfrm>
          <a:off x="499756" y="1755847"/>
          <a:ext cx="11006442" cy="36997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334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59382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918928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918928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9189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892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892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8928">
                  <a:extLst>
                    <a:ext uri="{9D8B030D-6E8A-4147-A177-3AD203B41FA5}">
                      <a16:colId xmlns:a16="http://schemas.microsoft.com/office/drawing/2014/main" val="4006287059"/>
                    </a:ext>
                  </a:extLst>
                </a:gridCol>
              </a:tblGrid>
              <a:tr h="381678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/</a:t>
                      </a:r>
                      <a:b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atn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300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pětná vazba od zákazník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300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sleduji trh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300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oléhám se na náhodné informace, které získávám od svých obchodních partner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55300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stematické monitorování zadávám specializované externí společnosti.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3009"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oléhám se na externí poradc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3009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ám osobu/oddělení, které se věnuje systematickému sledování využívání mého duševního vlastnictví.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8045483"/>
              </p:ext>
            </p:extLst>
          </p:nvPr>
        </p:nvGraphicFramePr>
        <p:xfrm>
          <a:off x="4230368" y="1686187"/>
          <a:ext cx="3403614" cy="377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214815" cy="701731"/>
          </a:xfrm>
        </p:spPr>
        <p:txBody>
          <a:bodyPr/>
          <a:lstStyle/>
          <a:p>
            <a:r>
              <a:rPr lang="cs-CZ" sz="2200" dirty="0"/>
              <a:t>Třetina firem při sledování trhu z hlediska možného porušení duševního vlastnictví spoléhá na zpětnou vazbu od zákazníků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10459125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Způsob sledování trhu z hlediska možného porušení svého duševního vlastnictví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618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33. Jak Vaše společnost sleduje trh z hlediska možného porušení svého duševního vlastnictví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305/196/109/93/33/152/60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5855884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1356579" cy="701731"/>
          </a:xfrm>
        </p:spPr>
        <p:txBody>
          <a:bodyPr/>
          <a:lstStyle/>
          <a:p>
            <a:r>
              <a:rPr lang="cs-CZ" sz="2200" dirty="0"/>
              <a:t>1 z 10 firem uvedla, že v nich někdy došlo k porušení práv duševního vlastnictví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97595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Došlo někdy v podniku k porušení práv duševního vlastnictví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38543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34. Došlo někdy ve Vaší společnosti k porušení práv duševního vlastnictví?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305/196/109/93/33/152/60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283285058"/>
              </p:ext>
            </p:extLst>
          </p:nvPr>
        </p:nvGraphicFramePr>
        <p:xfrm>
          <a:off x="454288" y="2515878"/>
          <a:ext cx="3127112" cy="299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40613" y="3826374"/>
            <a:ext cx="1102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em</a:t>
            </a:r>
          </a:p>
        </p:txBody>
      </p:sp>
      <p:sp>
        <p:nvSpPr>
          <p:cNvPr id="7" name="Rectangle 6"/>
          <p:cNvSpPr/>
          <p:nvPr/>
        </p:nvSpPr>
        <p:spPr>
          <a:xfrm>
            <a:off x="4005469" y="1730222"/>
            <a:ext cx="166591" cy="18288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87184" y="1655009"/>
            <a:ext cx="526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713891" y="1737842"/>
            <a:ext cx="175260" cy="1752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843944" y="1653803"/>
            <a:ext cx="602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</a:t>
            </a:r>
          </a:p>
        </p:txBody>
      </p:sp>
      <p:sp>
        <p:nvSpPr>
          <p:cNvPr id="8" name="Zástupný symbol pro zápatí 2">
            <a:extLst>
              <a:ext uri="{FF2B5EF4-FFF2-40B4-BE49-F238E27FC236}">
                <a16:creationId xmlns:a16="http://schemas.microsoft.com/office/drawing/2014/main" id="{AC696590-8929-E4DB-BAC7-33EAF70E00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C8C29D9-8ACE-104E-F21D-F63DA1CF8030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cky signifikantní </a:t>
            </a: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007D4C5E-96CF-9341-1400-6DBFF4D989CF}"/>
              </a:ext>
            </a:extLst>
          </p:cNvPr>
          <p:cNvSpPr/>
          <p:nvPr/>
        </p:nvSpPr>
        <p:spPr>
          <a:xfrm>
            <a:off x="5270253" y="1739929"/>
            <a:ext cx="175260" cy="17526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C06AB0DE-31AD-FD68-3845-B7F8C84D9E60}"/>
              </a:ext>
            </a:extLst>
          </p:cNvPr>
          <p:cNvSpPr txBox="1"/>
          <p:nvPr/>
        </p:nvSpPr>
        <p:spPr>
          <a:xfrm>
            <a:off x="5400305" y="1655890"/>
            <a:ext cx="1126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vím</a:t>
            </a:r>
          </a:p>
        </p:txBody>
      </p:sp>
      <p:graphicFrame>
        <p:nvGraphicFramePr>
          <p:cNvPr id="16" name="Chart 21">
            <a:extLst>
              <a:ext uri="{FF2B5EF4-FFF2-40B4-BE49-F238E27FC236}">
                <a16:creationId xmlns:a16="http://schemas.microsoft.com/office/drawing/2014/main" id="{6F2CF105-0189-D0BC-D8FF-EE6965C5E3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6020810"/>
              </p:ext>
            </p:extLst>
          </p:nvPr>
        </p:nvGraphicFramePr>
        <p:xfrm>
          <a:off x="3629165" y="223981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4">
            <a:extLst>
              <a:ext uri="{FF2B5EF4-FFF2-40B4-BE49-F238E27FC236}">
                <a16:creationId xmlns:a16="http://schemas.microsoft.com/office/drawing/2014/main" id="{66C1C265-BE6D-F5C4-CE5A-9DAB829E5FF3}"/>
              </a:ext>
            </a:extLst>
          </p:cNvPr>
          <p:cNvSpPr txBox="1"/>
          <p:nvPr/>
        </p:nvSpPr>
        <p:spPr>
          <a:xfrm>
            <a:off x="4383096" y="287467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-49 zaměstnanců</a:t>
            </a:r>
          </a:p>
        </p:txBody>
      </p:sp>
      <p:sp>
        <p:nvSpPr>
          <p:cNvPr id="18" name="TextBox 27">
            <a:extLst>
              <a:ext uri="{FF2B5EF4-FFF2-40B4-BE49-F238E27FC236}">
                <a16:creationId xmlns:a16="http://schemas.microsoft.com/office/drawing/2014/main" id="{B59326C6-BEC5-C939-EC18-F8C9B2D87A1C}"/>
              </a:ext>
            </a:extLst>
          </p:cNvPr>
          <p:cNvSpPr txBox="1"/>
          <p:nvPr/>
        </p:nvSpPr>
        <p:spPr>
          <a:xfrm>
            <a:off x="6077706" y="285562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-249 zaměstnanců</a:t>
            </a:r>
          </a:p>
        </p:txBody>
      </p:sp>
      <p:grpSp>
        <p:nvGrpSpPr>
          <p:cNvPr id="20" name="Group 62">
            <a:extLst>
              <a:ext uri="{FF2B5EF4-FFF2-40B4-BE49-F238E27FC236}">
                <a16:creationId xmlns:a16="http://schemas.microsoft.com/office/drawing/2014/main" id="{636F8DBA-32DA-6D39-ADF4-83F7175E6437}"/>
              </a:ext>
            </a:extLst>
          </p:cNvPr>
          <p:cNvGrpSpPr>
            <a:grpSpLocks noChangeAspect="1"/>
          </p:cNvGrpSpPr>
          <p:nvPr/>
        </p:nvGrpSpPr>
        <p:grpSpPr>
          <a:xfrm>
            <a:off x="70620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88F082BD-4F95-4ACA-8FD9-F4F8FEF8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4" name="Group 178">
              <a:extLst>
                <a:ext uri="{FF2B5EF4-FFF2-40B4-BE49-F238E27FC236}">
                  <a16:creationId xmlns:a16="http://schemas.microsoft.com/office/drawing/2014/main" id="{D578F2C6-E6BE-3D57-BD58-94E60BD9DEB6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5B2925CA-62AF-B69B-CFC2-6DB6C2E4B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001547BB-7076-5AF4-5215-2E0F9717E7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36" name="Chart 21">
            <a:extLst>
              <a:ext uri="{FF2B5EF4-FFF2-40B4-BE49-F238E27FC236}">
                <a16:creationId xmlns:a16="http://schemas.microsoft.com/office/drawing/2014/main" id="{873F07C9-2E33-707D-CD24-4869633ADE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1254496"/>
              </p:ext>
            </p:extLst>
          </p:nvPr>
        </p:nvGraphicFramePr>
        <p:xfrm>
          <a:off x="5296040" y="224934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7" name="Chart 21">
            <a:extLst>
              <a:ext uri="{FF2B5EF4-FFF2-40B4-BE49-F238E27FC236}">
                <a16:creationId xmlns:a16="http://schemas.microsoft.com/office/drawing/2014/main" id="{4749BB0F-E66D-98A7-0B23-7D672A6BA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8980981"/>
              </p:ext>
            </p:extLst>
          </p:nvPr>
        </p:nvGraphicFramePr>
        <p:xfrm>
          <a:off x="3638690" y="39352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8" name="TextBox 14">
            <a:extLst>
              <a:ext uri="{FF2B5EF4-FFF2-40B4-BE49-F238E27FC236}">
                <a16:creationId xmlns:a16="http://schemas.microsoft.com/office/drawing/2014/main" id="{426708B5-B86C-329F-2995-D34B0F7305CD}"/>
              </a:ext>
            </a:extLst>
          </p:cNvPr>
          <p:cNvSpPr txBox="1"/>
          <p:nvPr/>
        </p:nvSpPr>
        <p:spPr>
          <a:xfrm>
            <a:off x="4401471" y="4733537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ýroba</a:t>
            </a:r>
          </a:p>
        </p:txBody>
      </p:sp>
      <p:grpSp>
        <p:nvGrpSpPr>
          <p:cNvPr id="39" name="Group 62">
            <a:extLst>
              <a:ext uri="{FF2B5EF4-FFF2-40B4-BE49-F238E27FC236}">
                <a16:creationId xmlns:a16="http://schemas.microsoft.com/office/drawing/2014/main" id="{BC8A714C-0F75-20BE-B0D8-2BE85E200DDD}"/>
              </a:ext>
            </a:extLst>
          </p:cNvPr>
          <p:cNvGrpSpPr>
            <a:grpSpLocks noChangeAspect="1"/>
          </p:cNvGrpSpPr>
          <p:nvPr/>
        </p:nvGrpSpPr>
        <p:grpSpPr>
          <a:xfrm>
            <a:off x="7071612" y="539422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4D189D1D-E923-C365-95B8-52247181C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1" name="Group 178">
              <a:extLst>
                <a:ext uri="{FF2B5EF4-FFF2-40B4-BE49-F238E27FC236}">
                  <a16:creationId xmlns:a16="http://schemas.microsoft.com/office/drawing/2014/main" id="{CA1FA952-0F3D-74CB-8EA7-42242206A9D5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42" name="Freeform 10">
                <a:extLst>
                  <a:ext uri="{FF2B5EF4-FFF2-40B4-BE49-F238E27FC236}">
                    <a16:creationId xmlns:a16="http://schemas.microsoft.com/office/drawing/2014/main" id="{0740B0E7-C8B0-1A39-FF81-12128930C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12">
                <a:extLst>
                  <a:ext uri="{FF2B5EF4-FFF2-40B4-BE49-F238E27FC236}">
                    <a16:creationId xmlns:a16="http://schemas.microsoft.com/office/drawing/2014/main" id="{BFCD700C-61D7-90F6-751C-AF83934FA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44" name="Chart 21">
            <a:extLst>
              <a:ext uri="{FF2B5EF4-FFF2-40B4-BE49-F238E27FC236}">
                <a16:creationId xmlns:a16="http://schemas.microsoft.com/office/drawing/2014/main" id="{FB278810-180A-7569-0D96-C83DF6407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8014311"/>
              </p:ext>
            </p:extLst>
          </p:nvPr>
        </p:nvGraphicFramePr>
        <p:xfrm>
          <a:off x="5305565" y="394479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45" name="Group 62">
            <a:extLst>
              <a:ext uri="{FF2B5EF4-FFF2-40B4-BE49-F238E27FC236}">
                <a16:creationId xmlns:a16="http://schemas.microsoft.com/office/drawing/2014/main" id="{E4979F08-5335-B9C9-959C-81A4F00310CE}"/>
              </a:ext>
            </a:extLst>
          </p:cNvPr>
          <p:cNvGrpSpPr>
            <a:grpSpLocks noChangeAspect="1"/>
          </p:cNvGrpSpPr>
          <p:nvPr/>
        </p:nvGrpSpPr>
        <p:grpSpPr>
          <a:xfrm>
            <a:off x="104529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4DBBB1C2-9861-3F45-A22B-ADB0F7FD5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7" name="Group 178">
              <a:extLst>
                <a:ext uri="{FF2B5EF4-FFF2-40B4-BE49-F238E27FC236}">
                  <a16:creationId xmlns:a16="http://schemas.microsoft.com/office/drawing/2014/main" id="{EEEA4121-4534-6071-B7F2-5315281E4F23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48" name="Freeform 10">
                <a:extLst>
                  <a:ext uri="{FF2B5EF4-FFF2-40B4-BE49-F238E27FC236}">
                    <a16:creationId xmlns:a16="http://schemas.microsoft.com/office/drawing/2014/main" id="{8B18B1E6-F5AC-6756-EA1C-3CF47C2E3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12">
                <a:extLst>
                  <a:ext uri="{FF2B5EF4-FFF2-40B4-BE49-F238E27FC236}">
                    <a16:creationId xmlns:a16="http://schemas.microsoft.com/office/drawing/2014/main" id="{964FA66F-4445-CF61-BF1B-22C157FB5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50" name="Chart 21">
            <a:extLst>
              <a:ext uri="{FF2B5EF4-FFF2-40B4-BE49-F238E27FC236}">
                <a16:creationId xmlns:a16="http://schemas.microsoft.com/office/drawing/2014/main" id="{E6625B5A-9D78-CD19-7C64-1EF6754A53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2304898"/>
              </p:ext>
            </p:extLst>
          </p:nvPr>
        </p:nvGraphicFramePr>
        <p:xfrm>
          <a:off x="7029590" y="39352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51" name="Group 62">
            <a:extLst>
              <a:ext uri="{FF2B5EF4-FFF2-40B4-BE49-F238E27FC236}">
                <a16:creationId xmlns:a16="http://schemas.microsoft.com/office/drawing/2014/main" id="{6D324837-DBF6-F4C2-E9ED-39380A2E04CC}"/>
              </a:ext>
            </a:extLst>
          </p:cNvPr>
          <p:cNvGrpSpPr>
            <a:grpSpLocks noChangeAspect="1"/>
          </p:cNvGrpSpPr>
          <p:nvPr/>
        </p:nvGrpSpPr>
        <p:grpSpPr>
          <a:xfrm>
            <a:off x="10462512" y="539422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D36B84E6-BA98-2B86-F6E4-835376EAC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3" name="Group 178">
              <a:extLst>
                <a:ext uri="{FF2B5EF4-FFF2-40B4-BE49-F238E27FC236}">
                  <a16:creationId xmlns:a16="http://schemas.microsoft.com/office/drawing/2014/main" id="{7F9D7CDC-49E9-0CAE-BD20-13D70E21D86D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54" name="Freeform 10">
                <a:extLst>
                  <a:ext uri="{FF2B5EF4-FFF2-40B4-BE49-F238E27FC236}">
                    <a16:creationId xmlns:a16="http://schemas.microsoft.com/office/drawing/2014/main" id="{25C3B09F-9056-E5BC-5F39-1366C80CC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12">
                <a:extLst>
                  <a:ext uri="{FF2B5EF4-FFF2-40B4-BE49-F238E27FC236}">
                    <a16:creationId xmlns:a16="http://schemas.microsoft.com/office/drawing/2014/main" id="{B54B25AD-2814-D2C1-AE11-274BB0E29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56" name="Chart 21">
            <a:extLst>
              <a:ext uri="{FF2B5EF4-FFF2-40B4-BE49-F238E27FC236}">
                <a16:creationId xmlns:a16="http://schemas.microsoft.com/office/drawing/2014/main" id="{5391F478-4D6D-5A4E-197A-183958D2E1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4256514"/>
              </p:ext>
            </p:extLst>
          </p:nvPr>
        </p:nvGraphicFramePr>
        <p:xfrm>
          <a:off x="8696465" y="394479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7" name="TextBox 27">
            <a:extLst>
              <a:ext uri="{FF2B5EF4-FFF2-40B4-BE49-F238E27FC236}">
                <a16:creationId xmlns:a16="http://schemas.microsoft.com/office/drawing/2014/main" id="{3A1E7CA1-6083-F0BE-2516-E9113B05C3A4}"/>
              </a:ext>
            </a:extLst>
          </p:cNvPr>
          <p:cNvSpPr txBox="1"/>
          <p:nvPr/>
        </p:nvSpPr>
        <p:spPr>
          <a:xfrm>
            <a:off x="6077706" y="471299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chod</a:t>
            </a:r>
          </a:p>
        </p:txBody>
      </p:sp>
      <p:sp>
        <p:nvSpPr>
          <p:cNvPr id="58" name="TextBox 14">
            <a:extLst>
              <a:ext uri="{FF2B5EF4-FFF2-40B4-BE49-F238E27FC236}">
                <a16:creationId xmlns:a16="http://schemas.microsoft.com/office/drawing/2014/main" id="{E94F99D0-D315-2E9E-D38A-32D9E4099113}"/>
              </a:ext>
            </a:extLst>
          </p:cNvPr>
          <p:cNvSpPr txBox="1"/>
          <p:nvPr/>
        </p:nvSpPr>
        <p:spPr>
          <a:xfrm>
            <a:off x="7783521" y="4703474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lužby</a:t>
            </a:r>
          </a:p>
        </p:txBody>
      </p:sp>
      <p:sp>
        <p:nvSpPr>
          <p:cNvPr id="59" name="TextBox 27">
            <a:extLst>
              <a:ext uri="{FF2B5EF4-FFF2-40B4-BE49-F238E27FC236}">
                <a16:creationId xmlns:a16="http://schemas.microsoft.com/office/drawing/2014/main" id="{29388A0D-AEA3-D941-087A-75F591D20F53}"/>
              </a:ext>
            </a:extLst>
          </p:cNvPr>
          <p:cNvSpPr txBox="1"/>
          <p:nvPr/>
        </p:nvSpPr>
        <p:spPr>
          <a:xfrm>
            <a:off x="9449556" y="469394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tatní</a:t>
            </a:r>
          </a:p>
        </p:txBody>
      </p:sp>
    </p:spTree>
    <p:extLst>
      <p:ext uri="{BB962C8B-B14F-4D97-AF65-F5344CB8AC3E}">
        <p14:creationId xmlns:p14="http://schemas.microsoft.com/office/powerpoint/2010/main" val="15615610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1356579" cy="701731"/>
          </a:xfrm>
        </p:spPr>
        <p:txBody>
          <a:bodyPr/>
          <a:lstStyle/>
          <a:p>
            <a:r>
              <a:rPr lang="cs-CZ" sz="2200" dirty="0"/>
              <a:t>Pětina podniků si nechala v minulosti profesionálně nacenit svůj nehmotný majetek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97595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echal si podnik někdy profesionálně nacenit svůj nehmotný majetek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38543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30. Nechal/a jste si profesionálně ocenit svůj nehmotný majetek?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305/196/109/93/33/152/60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654388486"/>
              </p:ext>
            </p:extLst>
          </p:nvPr>
        </p:nvGraphicFramePr>
        <p:xfrm>
          <a:off x="454288" y="2515878"/>
          <a:ext cx="3127112" cy="299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40613" y="3826374"/>
            <a:ext cx="1102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em</a:t>
            </a:r>
          </a:p>
        </p:txBody>
      </p:sp>
      <p:sp>
        <p:nvSpPr>
          <p:cNvPr id="7" name="Rectangle 6"/>
          <p:cNvSpPr/>
          <p:nvPr/>
        </p:nvSpPr>
        <p:spPr>
          <a:xfrm>
            <a:off x="4005469" y="1730222"/>
            <a:ext cx="166591" cy="18288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87184" y="1655009"/>
            <a:ext cx="526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713891" y="1737842"/>
            <a:ext cx="175260" cy="1752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843944" y="1653803"/>
            <a:ext cx="602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</a:t>
            </a:r>
          </a:p>
        </p:txBody>
      </p:sp>
      <p:sp>
        <p:nvSpPr>
          <p:cNvPr id="8" name="Zástupný symbol pro zápatí 2">
            <a:extLst>
              <a:ext uri="{FF2B5EF4-FFF2-40B4-BE49-F238E27FC236}">
                <a16:creationId xmlns:a16="http://schemas.microsoft.com/office/drawing/2014/main" id="{AC696590-8929-E4DB-BAC7-33EAF70E00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C8C29D9-8ACE-104E-F21D-F63DA1CF8030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cky signifikantní </a:t>
            </a: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007D4C5E-96CF-9341-1400-6DBFF4D989CF}"/>
              </a:ext>
            </a:extLst>
          </p:cNvPr>
          <p:cNvSpPr/>
          <p:nvPr/>
        </p:nvSpPr>
        <p:spPr>
          <a:xfrm>
            <a:off x="5270253" y="1739929"/>
            <a:ext cx="175260" cy="17526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C06AB0DE-31AD-FD68-3845-B7F8C84D9E60}"/>
              </a:ext>
            </a:extLst>
          </p:cNvPr>
          <p:cNvSpPr txBox="1"/>
          <p:nvPr/>
        </p:nvSpPr>
        <p:spPr>
          <a:xfrm>
            <a:off x="5400305" y="1655890"/>
            <a:ext cx="1126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vím</a:t>
            </a:r>
          </a:p>
        </p:txBody>
      </p:sp>
      <p:graphicFrame>
        <p:nvGraphicFramePr>
          <p:cNvPr id="16" name="Chart 21">
            <a:extLst>
              <a:ext uri="{FF2B5EF4-FFF2-40B4-BE49-F238E27FC236}">
                <a16:creationId xmlns:a16="http://schemas.microsoft.com/office/drawing/2014/main" id="{6F2CF105-0189-D0BC-D8FF-EE6965C5E3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9574189"/>
              </p:ext>
            </p:extLst>
          </p:nvPr>
        </p:nvGraphicFramePr>
        <p:xfrm>
          <a:off x="3629165" y="223981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4">
            <a:extLst>
              <a:ext uri="{FF2B5EF4-FFF2-40B4-BE49-F238E27FC236}">
                <a16:creationId xmlns:a16="http://schemas.microsoft.com/office/drawing/2014/main" id="{66C1C265-BE6D-F5C4-CE5A-9DAB829E5FF3}"/>
              </a:ext>
            </a:extLst>
          </p:cNvPr>
          <p:cNvSpPr txBox="1"/>
          <p:nvPr/>
        </p:nvSpPr>
        <p:spPr>
          <a:xfrm>
            <a:off x="4383096" y="287467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-49 zaměstnanců</a:t>
            </a:r>
          </a:p>
        </p:txBody>
      </p:sp>
      <p:sp>
        <p:nvSpPr>
          <p:cNvPr id="18" name="TextBox 27">
            <a:extLst>
              <a:ext uri="{FF2B5EF4-FFF2-40B4-BE49-F238E27FC236}">
                <a16:creationId xmlns:a16="http://schemas.microsoft.com/office/drawing/2014/main" id="{B59326C6-BEC5-C939-EC18-F8C9B2D87A1C}"/>
              </a:ext>
            </a:extLst>
          </p:cNvPr>
          <p:cNvSpPr txBox="1"/>
          <p:nvPr/>
        </p:nvSpPr>
        <p:spPr>
          <a:xfrm>
            <a:off x="6077706" y="285562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-249 zaměstnanců</a:t>
            </a:r>
          </a:p>
        </p:txBody>
      </p:sp>
      <p:grpSp>
        <p:nvGrpSpPr>
          <p:cNvPr id="20" name="Group 62">
            <a:extLst>
              <a:ext uri="{FF2B5EF4-FFF2-40B4-BE49-F238E27FC236}">
                <a16:creationId xmlns:a16="http://schemas.microsoft.com/office/drawing/2014/main" id="{636F8DBA-32DA-6D39-ADF4-83F7175E6437}"/>
              </a:ext>
            </a:extLst>
          </p:cNvPr>
          <p:cNvGrpSpPr>
            <a:grpSpLocks noChangeAspect="1"/>
          </p:cNvGrpSpPr>
          <p:nvPr/>
        </p:nvGrpSpPr>
        <p:grpSpPr>
          <a:xfrm>
            <a:off x="70620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88F082BD-4F95-4ACA-8FD9-F4F8FEF8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4" name="Group 178">
              <a:extLst>
                <a:ext uri="{FF2B5EF4-FFF2-40B4-BE49-F238E27FC236}">
                  <a16:creationId xmlns:a16="http://schemas.microsoft.com/office/drawing/2014/main" id="{D578F2C6-E6BE-3D57-BD58-94E60BD9DEB6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27" name="Freeform 10">
                <a:extLst>
                  <a:ext uri="{FF2B5EF4-FFF2-40B4-BE49-F238E27FC236}">
                    <a16:creationId xmlns:a16="http://schemas.microsoft.com/office/drawing/2014/main" id="{5B2925CA-62AF-B69B-CFC2-6DB6C2E4B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2">
                <a:extLst>
                  <a:ext uri="{FF2B5EF4-FFF2-40B4-BE49-F238E27FC236}">
                    <a16:creationId xmlns:a16="http://schemas.microsoft.com/office/drawing/2014/main" id="{001547BB-7076-5AF4-5215-2E0F9717E7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36" name="Chart 21">
            <a:extLst>
              <a:ext uri="{FF2B5EF4-FFF2-40B4-BE49-F238E27FC236}">
                <a16:creationId xmlns:a16="http://schemas.microsoft.com/office/drawing/2014/main" id="{873F07C9-2E33-707D-CD24-4869633ADE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7549472"/>
              </p:ext>
            </p:extLst>
          </p:nvPr>
        </p:nvGraphicFramePr>
        <p:xfrm>
          <a:off x="5296040" y="224934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7" name="Chart 21">
            <a:extLst>
              <a:ext uri="{FF2B5EF4-FFF2-40B4-BE49-F238E27FC236}">
                <a16:creationId xmlns:a16="http://schemas.microsoft.com/office/drawing/2014/main" id="{4749BB0F-E66D-98A7-0B23-7D672A6BA6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6049273"/>
              </p:ext>
            </p:extLst>
          </p:nvPr>
        </p:nvGraphicFramePr>
        <p:xfrm>
          <a:off x="3638690" y="39352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8" name="TextBox 14">
            <a:extLst>
              <a:ext uri="{FF2B5EF4-FFF2-40B4-BE49-F238E27FC236}">
                <a16:creationId xmlns:a16="http://schemas.microsoft.com/office/drawing/2014/main" id="{426708B5-B86C-329F-2995-D34B0F7305CD}"/>
              </a:ext>
            </a:extLst>
          </p:cNvPr>
          <p:cNvSpPr txBox="1"/>
          <p:nvPr/>
        </p:nvSpPr>
        <p:spPr>
          <a:xfrm>
            <a:off x="4401471" y="4733537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ýroba</a:t>
            </a:r>
          </a:p>
        </p:txBody>
      </p:sp>
      <p:grpSp>
        <p:nvGrpSpPr>
          <p:cNvPr id="39" name="Group 62">
            <a:extLst>
              <a:ext uri="{FF2B5EF4-FFF2-40B4-BE49-F238E27FC236}">
                <a16:creationId xmlns:a16="http://schemas.microsoft.com/office/drawing/2014/main" id="{BC8A714C-0F75-20BE-B0D8-2BE85E200DDD}"/>
              </a:ext>
            </a:extLst>
          </p:cNvPr>
          <p:cNvGrpSpPr>
            <a:grpSpLocks noChangeAspect="1"/>
          </p:cNvGrpSpPr>
          <p:nvPr/>
        </p:nvGrpSpPr>
        <p:grpSpPr>
          <a:xfrm>
            <a:off x="7071612" y="539422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4D189D1D-E923-C365-95B8-52247181C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1" name="Group 178">
              <a:extLst>
                <a:ext uri="{FF2B5EF4-FFF2-40B4-BE49-F238E27FC236}">
                  <a16:creationId xmlns:a16="http://schemas.microsoft.com/office/drawing/2014/main" id="{CA1FA952-0F3D-74CB-8EA7-42242206A9D5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42" name="Freeform 10">
                <a:extLst>
                  <a:ext uri="{FF2B5EF4-FFF2-40B4-BE49-F238E27FC236}">
                    <a16:creationId xmlns:a16="http://schemas.microsoft.com/office/drawing/2014/main" id="{0740B0E7-C8B0-1A39-FF81-12128930C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12">
                <a:extLst>
                  <a:ext uri="{FF2B5EF4-FFF2-40B4-BE49-F238E27FC236}">
                    <a16:creationId xmlns:a16="http://schemas.microsoft.com/office/drawing/2014/main" id="{BFCD700C-61D7-90F6-751C-AF83934FA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44" name="Chart 21">
            <a:extLst>
              <a:ext uri="{FF2B5EF4-FFF2-40B4-BE49-F238E27FC236}">
                <a16:creationId xmlns:a16="http://schemas.microsoft.com/office/drawing/2014/main" id="{FB278810-180A-7569-0D96-C83DF6407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319494"/>
              </p:ext>
            </p:extLst>
          </p:nvPr>
        </p:nvGraphicFramePr>
        <p:xfrm>
          <a:off x="5305565" y="394479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45" name="Group 62">
            <a:extLst>
              <a:ext uri="{FF2B5EF4-FFF2-40B4-BE49-F238E27FC236}">
                <a16:creationId xmlns:a16="http://schemas.microsoft.com/office/drawing/2014/main" id="{E4979F08-5335-B9C9-959C-81A4F00310CE}"/>
              </a:ext>
            </a:extLst>
          </p:cNvPr>
          <p:cNvGrpSpPr>
            <a:grpSpLocks noChangeAspect="1"/>
          </p:cNvGrpSpPr>
          <p:nvPr/>
        </p:nvGrpSpPr>
        <p:grpSpPr>
          <a:xfrm>
            <a:off x="104529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4DBBB1C2-9861-3F45-A22B-ADB0F7FD5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7" name="Group 178">
              <a:extLst>
                <a:ext uri="{FF2B5EF4-FFF2-40B4-BE49-F238E27FC236}">
                  <a16:creationId xmlns:a16="http://schemas.microsoft.com/office/drawing/2014/main" id="{EEEA4121-4534-6071-B7F2-5315281E4F23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48" name="Freeform 10">
                <a:extLst>
                  <a:ext uri="{FF2B5EF4-FFF2-40B4-BE49-F238E27FC236}">
                    <a16:creationId xmlns:a16="http://schemas.microsoft.com/office/drawing/2014/main" id="{8B18B1E6-F5AC-6756-EA1C-3CF47C2E3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12">
                <a:extLst>
                  <a:ext uri="{FF2B5EF4-FFF2-40B4-BE49-F238E27FC236}">
                    <a16:creationId xmlns:a16="http://schemas.microsoft.com/office/drawing/2014/main" id="{964FA66F-4445-CF61-BF1B-22C157FB5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50" name="Chart 21">
            <a:extLst>
              <a:ext uri="{FF2B5EF4-FFF2-40B4-BE49-F238E27FC236}">
                <a16:creationId xmlns:a16="http://schemas.microsoft.com/office/drawing/2014/main" id="{E6625B5A-9D78-CD19-7C64-1EF6754A53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148729"/>
              </p:ext>
            </p:extLst>
          </p:nvPr>
        </p:nvGraphicFramePr>
        <p:xfrm>
          <a:off x="7029590" y="39352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51" name="Group 62">
            <a:extLst>
              <a:ext uri="{FF2B5EF4-FFF2-40B4-BE49-F238E27FC236}">
                <a16:creationId xmlns:a16="http://schemas.microsoft.com/office/drawing/2014/main" id="{6D324837-DBF6-F4C2-E9ED-39380A2E04CC}"/>
              </a:ext>
            </a:extLst>
          </p:cNvPr>
          <p:cNvGrpSpPr>
            <a:grpSpLocks noChangeAspect="1"/>
          </p:cNvGrpSpPr>
          <p:nvPr/>
        </p:nvGrpSpPr>
        <p:grpSpPr>
          <a:xfrm>
            <a:off x="10462512" y="539422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D36B84E6-BA98-2B86-F6E4-835376EAC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3" name="Group 178">
              <a:extLst>
                <a:ext uri="{FF2B5EF4-FFF2-40B4-BE49-F238E27FC236}">
                  <a16:creationId xmlns:a16="http://schemas.microsoft.com/office/drawing/2014/main" id="{7F9D7CDC-49E9-0CAE-BD20-13D70E21D86D}"/>
                </a:ext>
              </a:extLst>
            </p:cNvPr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54" name="Freeform 10">
                <a:extLst>
                  <a:ext uri="{FF2B5EF4-FFF2-40B4-BE49-F238E27FC236}">
                    <a16:creationId xmlns:a16="http://schemas.microsoft.com/office/drawing/2014/main" id="{25C3B09F-9056-E5BC-5F39-1366C80CC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12">
                <a:extLst>
                  <a:ext uri="{FF2B5EF4-FFF2-40B4-BE49-F238E27FC236}">
                    <a16:creationId xmlns:a16="http://schemas.microsoft.com/office/drawing/2014/main" id="{B54B25AD-2814-D2C1-AE11-274BB0E29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56" name="Chart 21">
            <a:extLst>
              <a:ext uri="{FF2B5EF4-FFF2-40B4-BE49-F238E27FC236}">
                <a16:creationId xmlns:a16="http://schemas.microsoft.com/office/drawing/2014/main" id="{5391F478-4D6D-5A4E-197A-183958D2E1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4193974"/>
              </p:ext>
            </p:extLst>
          </p:nvPr>
        </p:nvGraphicFramePr>
        <p:xfrm>
          <a:off x="8696465" y="3944792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7" name="TextBox 27">
            <a:extLst>
              <a:ext uri="{FF2B5EF4-FFF2-40B4-BE49-F238E27FC236}">
                <a16:creationId xmlns:a16="http://schemas.microsoft.com/office/drawing/2014/main" id="{3A1E7CA1-6083-F0BE-2516-E9113B05C3A4}"/>
              </a:ext>
            </a:extLst>
          </p:cNvPr>
          <p:cNvSpPr txBox="1"/>
          <p:nvPr/>
        </p:nvSpPr>
        <p:spPr>
          <a:xfrm>
            <a:off x="6077706" y="471299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chod</a:t>
            </a:r>
          </a:p>
        </p:txBody>
      </p:sp>
      <p:sp>
        <p:nvSpPr>
          <p:cNvPr id="58" name="TextBox 14">
            <a:extLst>
              <a:ext uri="{FF2B5EF4-FFF2-40B4-BE49-F238E27FC236}">
                <a16:creationId xmlns:a16="http://schemas.microsoft.com/office/drawing/2014/main" id="{E94F99D0-D315-2E9E-D38A-32D9E4099113}"/>
              </a:ext>
            </a:extLst>
          </p:cNvPr>
          <p:cNvSpPr txBox="1"/>
          <p:nvPr/>
        </p:nvSpPr>
        <p:spPr>
          <a:xfrm>
            <a:off x="7783521" y="4703474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lužby</a:t>
            </a:r>
          </a:p>
        </p:txBody>
      </p:sp>
      <p:sp>
        <p:nvSpPr>
          <p:cNvPr id="59" name="TextBox 27">
            <a:extLst>
              <a:ext uri="{FF2B5EF4-FFF2-40B4-BE49-F238E27FC236}">
                <a16:creationId xmlns:a16="http://schemas.microsoft.com/office/drawing/2014/main" id="{29388A0D-AEA3-D941-087A-75F591D20F53}"/>
              </a:ext>
            </a:extLst>
          </p:cNvPr>
          <p:cNvSpPr txBox="1"/>
          <p:nvPr/>
        </p:nvSpPr>
        <p:spPr>
          <a:xfrm>
            <a:off x="9449556" y="4693949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tatní</a:t>
            </a:r>
          </a:p>
        </p:txBody>
      </p:sp>
    </p:spTree>
    <p:extLst>
      <p:ext uri="{BB962C8B-B14F-4D97-AF65-F5344CB8AC3E}">
        <p14:creationId xmlns:p14="http://schemas.microsoft.com/office/powerpoint/2010/main" val="4326258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Zástupný symbol pro obsah 6">
            <a:extLst>
              <a:ext uri="{FF2B5EF4-FFF2-40B4-BE49-F238E27FC236}">
                <a16:creationId xmlns:a16="http://schemas.microsoft.com/office/drawing/2014/main" id="{4048C87F-4B5F-2CE3-3A57-93B1CCB00FB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59821148"/>
              </p:ext>
            </p:extLst>
          </p:nvPr>
        </p:nvGraphicFramePr>
        <p:xfrm>
          <a:off x="-139955" y="2544870"/>
          <a:ext cx="10870163" cy="2263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20643"/>
            <a:ext cx="11381746" cy="701731"/>
          </a:xfrm>
        </p:spPr>
        <p:txBody>
          <a:bodyPr/>
          <a:lstStyle/>
          <a:p>
            <a:r>
              <a:rPr lang="cs-CZ" sz="2200" dirty="0"/>
              <a:t>Přibližně pětina podniků se někdy pokusila získat finanční prostředky využitím svého nehmotného majetku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dirty="0">
                <a:solidFill>
                  <a:prstClr val="black"/>
                </a:solidFill>
                <a:latin typeface="Arial Black"/>
              </a:rPr>
              <a:t>Pokusila se firma někdy získat finanční prostředky využitím nehmotného majetku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898206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31. Pokusili jste se získat finanční prostředky využitím svého nehmotného majetku?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305/196/109/93/33/119/60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8" name="Tabulka 67">
            <a:extLst>
              <a:ext uri="{FF2B5EF4-FFF2-40B4-BE49-F238E27FC236}">
                <a16:creationId xmlns:a16="http://schemas.microsoft.com/office/drawing/2014/main" id="{9E46368E-9CA5-423B-B991-E35B66E7C520}"/>
              </a:ext>
            </a:extLst>
          </p:cNvPr>
          <p:cNvGraphicFramePr>
            <a:graphicFrameLocks noGrp="1"/>
          </p:cNvGraphicFramePr>
          <p:nvPr/>
        </p:nvGraphicFramePr>
        <p:xfrm>
          <a:off x="434017" y="4871291"/>
          <a:ext cx="7086457" cy="512445"/>
        </p:xfrm>
        <a:graphic>
          <a:graphicData uri="http://schemas.openxmlformats.org/drawingml/2006/table">
            <a:tbl>
              <a:tblPr firstRow="1" bandRow="1"/>
              <a:tblGrid>
                <a:gridCol w="1012351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759263392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612859211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  <a:endParaRPr lang="en-US" sz="14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/</a:t>
                      </a:r>
                      <a:b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cxnSp>
        <p:nvCxnSpPr>
          <p:cNvPr id="70" name="Přímá spojnice 69">
            <a:extLst>
              <a:ext uri="{FF2B5EF4-FFF2-40B4-BE49-F238E27FC236}">
                <a16:creationId xmlns:a16="http://schemas.microsoft.com/office/drawing/2014/main" id="{62AD2A0E-E7CB-4822-AFE3-14FCB0F3B1AF}"/>
              </a:ext>
            </a:extLst>
          </p:cNvPr>
          <p:cNvCxnSpPr/>
          <p:nvPr/>
        </p:nvCxnSpPr>
        <p:spPr>
          <a:xfrm>
            <a:off x="138737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2" name="Tabulka 71">
            <a:extLst>
              <a:ext uri="{FF2B5EF4-FFF2-40B4-BE49-F238E27FC236}">
                <a16:creationId xmlns:a16="http://schemas.microsoft.com/office/drawing/2014/main" id="{2F9C9028-8BA1-40D2-A885-5C279CB673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571472"/>
              </p:ext>
            </p:extLst>
          </p:nvPr>
        </p:nvGraphicFramePr>
        <p:xfrm>
          <a:off x="7936553" y="2219718"/>
          <a:ext cx="3214152" cy="3004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141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r>
                        <a:rPr lang="en-US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en-US" sz="1100" b="0" noProof="0" dirty="0">
                          <a:solidFill>
                            <a:srgbClr val="008BCA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1" baseline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 </a:t>
                      </a:r>
                      <a:r>
                        <a:rPr lang="cs-CZ" sz="1100" b="1" i="1" kern="1200" noProof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Ano</a:t>
                      </a:r>
                      <a:endParaRPr lang="en-US" sz="1100" b="1" i="1" kern="1200" noProof="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108135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b="0" noProof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000" b="0" noProof="0">
                          <a:solidFill>
                            <a:srgbClr val="008BCA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000" b="0" noProof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Ano, úspěšně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r>
                        <a:rPr lang="en-US" sz="1000" b="0" noProof="0" dirty="0">
                          <a:solidFill>
                            <a:srgbClr val="008BCA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Ano, neúspěšně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>
                          <a:solidFill>
                            <a:srgbClr val="ED6737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000" b="0" noProof="0" dirty="0">
                          <a:solidFill>
                            <a:srgbClr val="95C3FF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000" b="0" baseline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Ne, není relevantní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r>
                        <a:rPr lang="en-US" sz="1000" b="0" noProof="0" dirty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000" b="0" noProof="0" dirty="0">
                          <a:solidFill>
                            <a:srgbClr val="ED6737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000" b="0" kern="1200" baseline="0" noProof="0" dirty="0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Nebyl/a jsem si vědom/a, že bych mohl/a</a:t>
                      </a:r>
                      <a:endParaRPr lang="en-US" sz="1000" b="0" kern="1200" baseline="0" noProof="0" dirty="0">
                        <a:solidFill>
                          <a:srgbClr val="4040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>
                          <a:solidFill>
                            <a:srgbClr val="7F7F7F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it-IT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Nevím, už si to nepamatuji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</a:tbl>
          </a:graphicData>
        </a:graphic>
      </p:graphicFrame>
      <p:sp>
        <p:nvSpPr>
          <p:cNvPr id="4" name="Zástupný symbol pro zápatí 2">
            <a:extLst>
              <a:ext uri="{FF2B5EF4-FFF2-40B4-BE49-F238E27FC236}">
                <a16:creationId xmlns:a16="http://schemas.microsoft.com/office/drawing/2014/main" id="{A2EB5C7D-7E41-2312-74FF-5AB7EB758A0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graphicFrame>
        <p:nvGraphicFramePr>
          <p:cNvPr id="22" name="Tabulka 1">
            <a:extLst>
              <a:ext uri="{FF2B5EF4-FFF2-40B4-BE49-F238E27FC236}">
                <a16:creationId xmlns:a16="http://schemas.microsoft.com/office/drawing/2014/main" id="{6FFC0A8E-9273-CAB2-DBBA-2E62373FC6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8883619"/>
              </p:ext>
            </p:extLst>
          </p:nvPr>
        </p:nvGraphicFramePr>
        <p:xfrm>
          <a:off x="388860" y="2316427"/>
          <a:ext cx="7131614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880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3342435297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1036643538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7038E583-27AD-9A8E-5E2B-6181F54158AA}"/>
              </a:ext>
            </a:extLst>
          </p:cNvPr>
          <p:cNvCxnSpPr/>
          <p:nvPr/>
        </p:nvCxnSpPr>
        <p:spPr>
          <a:xfrm>
            <a:off x="3440494" y="204382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700965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6" y="537475"/>
            <a:ext cx="11091564" cy="3065006"/>
          </a:xfrm>
        </p:spPr>
        <p:txBody>
          <a:bodyPr/>
          <a:lstStyle/>
          <a:p>
            <a:r>
              <a:rPr lang="cs-CZ" dirty="0"/>
              <a:t>Využívání práv duševního vlastnictví v detail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0847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2865718"/>
              </p:ext>
            </p:extLst>
          </p:nvPr>
        </p:nvGraphicFramePr>
        <p:xfrm>
          <a:off x="499756" y="1755847"/>
          <a:ext cx="8121731" cy="37100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631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71154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1293695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1293695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</a:tblGrid>
              <a:tr h="347081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árodní ochranné známk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chranné známky EU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žitné vzor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tent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árodní zapsané průmyslové vzor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lší ochranná opatření, např. doménová jmén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apsané průmyslové vzory Společenstv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678697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Šlechtitelská práva/odrůdová práv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560508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dborníka jsme nevyužili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437416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ví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521981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433173"/>
              </p:ext>
            </p:extLst>
          </p:nvPr>
        </p:nvGraphicFramePr>
        <p:xfrm>
          <a:off x="4272313" y="1644243"/>
          <a:ext cx="2430491" cy="3821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214815" cy="701731"/>
          </a:xfrm>
        </p:spPr>
        <p:txBody>
          <a:bodyPr/>
          <a:lstStyle/>
          <a:p>
            <a:r>
              <a:rPr lang="cs-CZ" sz="2200" dirty="0"/>
              <a:t>ODBORNÍCI JSOU NEJČASTĚJI VYUŽÍVÁNI V PŘÍPADĚ NÁRODNÍCH OCHRANNÝCH ZNÁMEK, OCHRANNÝCH ZNÁMEK EU A UŽITNÝCH VZORŮ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10459125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Typy práv, pro která firmy využívají odborníka na duševní vlastnictví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6. Pro jaká práva jste při podání žádosti využili služeb odborníka na duševní vlastnictví?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94/41/53 (báze ti, kteří vlastní nějaká registrovaná práva duševního vlastnictví)</a:t>
            </a:r>
            <a:endParaRPr lang="en-US" sz="11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3013830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31800"/>
            <a:ext cx="11382428" cy="480131"/>
          </a:xfrm>
        </p:spPr>
        <p:txBody>
          <a:bodyPr/>
          <a:lstStyle/>
          <a:p>
            <a:r>
              <a:rPr lang="cs-CZ" dirty="0"/>
              <a:t>metodika</a:t>
            </a:r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3</a:t>
            </a:fld>
            <a:r>
              <a:rPr lang="en-GB" dirty="0"/>
              <a:t> 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10E8A2A-96A3-40E3-A68A-60D09FA9E6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graphicFrame>
        <p:nvGraphicFramePr>
          <p:cNvPr id="26" name="Tabulka 25">
            <a:extLst>
              <a:ext uri="{FF2B5EF4-FFF2-40B4-BE49-F238E27FC236}">
                <a16:creationId xmlns:a16="http://schemas.microsoft.com/office/drawing/2014/main" id="{7A8059C3-46EE-49A8-A22C-EF6388023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6006929"/>
              </p:ext>
            </p:extLst>
          </p:nvPr>
        </p:nvGraphicFramePr>
        <p:xfrm>
          <a:off x="1859530" y="1246029"/>
          <a:ext cx="10203147" cy="4321212"/>
        </p:xfrm>
        <a:graphic>
          <a:graphicData uri="http://schemas.openxmlformats.org/drawingml/2006/table">
            <a:tbl>
              <a:tblPr firstRow="1" bandRow="1"/>
              <a:tblGrid>
                <a:gridCol w="19571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459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803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rgbClr val="CCCCCC"/>
                          </a:solidFill>
                          <a:latin typeface="+mj-lt"/>
                          <a:ea typeface="+mn-ea"/>
                          <a:cs typeface="+mn-cs"/>
                        </a:rPr>
                        <a:t>Metoda</a:t>
                      </a:r>
                      <a:br>
                        <a:rPr lang="cs-CZ" sz="1800" b="1" kern="1200" dirty="0">
                          <a:solidFill>
                            <a:srgbClr val="CCCCCC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>
                          <a:solidFill>
                            <a:srgbClr val="CCCCCC"/>
                          </a:solidFill>
                          <a:latin typeface="+mj-lt"/>
                          <a:ea typeface="+mn-ea"/>
                          <a:cs typeface="+mn-cs"/>
                        </a:rPr>
                        <a:t>ankety</a:t>
                      </a:r>
                      <a:endParaRPr lang="en-GB" sz="1800" b="1" kern="1200" dirty="0">
                        <a:solidFill>
                          <a:srgbClr val="CCCCCC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1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Online</a:t>
                      </a:r>
                      <a:r>
                        <a:rPr lang="cs-CZ" sz="1800" kern="1200" baseline="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 dotazování</a:t>
                      </a:r>
                      <a:endParaRPr lang="cs-CZ" sz="1800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03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rgbClr val="C2A9EE"/>
                          </a:solidFill>
                          <a:latin typeface="+mj-lt"/>
                          <a:ea typeface="+mn-ea"/>
                          <a:cs typeface="+mn-cs"/>
                        </a:rPr>
                        <a:t>Cílová</a:t>
                      </a:r>
                      <a:br>
                        <a:rPr lang="cs-CZ" sz="1800" b="1" kern="1200" dirty="0">
                          <a:solidFill>
                            <a:srgbClr val="C2A9EE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>
                          <a:solidFill>
                            <a:srgbClr val="C2A9EE"/>
                          </a:solidFill>
                          <a:latin typeface="+mj-lt"/>
                          <a:ea typeface="+mn-ea"/>
                          <a:cs typeface="+mn-cs"/>
                        </a:rPr>
                        <a:t>skupina</a:t>
                      </a:r>
                      <a:endParaRPr lang="en-GB" sz="1800" b="1" kern="1200" dirty="0">
                        <a:solidFill>
                          <a:srgbClr val="C2A9EE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cs-CZ" sz="180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Majitelé, jednatelé a ředitelé malých a středních podniků </a:t>
                      </a:r>
                      <a:br>
                        <a:rPr lang="cs-CZ" sz="180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o velikosti 4-249 zaměstnanců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803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defTabSz="914157">
                        <a:defRPr/>
                      </a:pPr>
                      <a:r>
                        <a:rPr lang="cs-CZ" sz="1800" b="1" kern="1200" dirty="0">
                          <a:solidFill>
                            <a:srgbClr val="ED6737"/>
                          </a:solidFill>
                          <a:latin typeface="+mj-lt"/>
                          <a:ea typeface="+mn-ea"/>
                          <a:cs typeface="+mn-cs"/>
                        </a:rPr>
                        <a:t>Velikost</a:t>
                      </a:r>
                      <a:br>
                        <a:rPr lang="cs-CZ" sz="1800" b="1" kern="1200" dirty="0">
                          <a:solidFill>
                            <a:srgbClr val="ED6737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>
                          <a:solidFill>
                            <a:srgbClr val="ED6737"/>
                          </a:solidFill>
                          <a:latin typeface="+mj-lt"/>
                          <a:ea typeface="+mn-ea"/>
                          <a:cs typeface="+mn-cs"/>
                        </a:rPr>
                        <a:t>vzorku</a:t>
                      </a:r>
                      <a:endParaRPr lang="en-GB" sz="1800" b="1" kern="1200" dirty="0">
                        <a:solidFill>
                          <a:srgbClr val="ED6737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305 podniků</a:t>
                      </a:r>
                      <a:b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sběr proběhl 3. 3. – 17. 3. 2023</a:t>
                      </a:r>
                      <a:endParaRPr lang="en-US" sz="1800" b="1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803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defTabSz="914157">
                        <a:defRPr/>
                      </a:pPr>
                      <a:r>
                        <a:rPr lang="cs-CZ" sz="1800" b="1" kern="1200" dirty="0">
                          <a:solidFill>
                            <a:srgbClr val="FBB040"/>
                          </a:solidFill>
                          <a:latin typeface="+mj-lt"/>
                          <a:ea typeface="+mn-ea"/>
                          <a:cs typeface="+mn-cs"/>
                        </a:rPr>
                        <a:t>Výzkumný nástroj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Strukturovaný dotazník o délce cca 10 minut</a:t>
                      </a:r>
                      <a:b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1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Vyznačené rozdíly v rámci podskupin jsou sig. na hladině 95 %</a:t>
                      </a:r>
                      <a:endParaRPr lang="en-US" sz="1800" b="1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27" name="Group 15">
            <a:extLst>
              <a:ext uri="{FF2B5EF4-FFF2-40B4-BE49-F238E27FC236}">
                <a16:creationId xmlns:a16="http://schemas.microsoft.com/office/drawing/2014/main" id="{32250F5E-C42C-4D2A-BCEC-E29726EAAF87}"/>
              </a:ext>
            </a:extLst>
          </p:cNvPr>
          <p:cNvGrpSpPr>
            <a:grpSpLocks noChangeAspect="1"/>
          </p:cNvGrpSpPr>
          <p:nvPr/>
        </p:nvGrpSpPr>
        <p:grpSpPr>
          <a:xfrm>
            <a:off x="934098" y="1502191"/>
            <a:ext cx="687134" cy="574232"/>
            <a:chOff x="5308593" y="2025650"/>
            <a:chExt cx="812804" cy="704850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D4A77865-0367-432A-95C9-2CE38226F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5297" y="2184400"/>
              <a:ext cx="546100" cy="546100"/>
            </a:xfrm>
            <a:custGeom>
              <a:avLst/>
              <a:gdLst/>
              <a:ahLst/>
              <a:cxnLst>
                <a:cxn ang="0">
                  <a:pos x="44" y="106"/>
                </a:cxn>
                <a:cxn ang="0">
                  <a:pos x="28" y="118"/>
                </a:cxn>
                <a:cxn ang="0">
                  <a:pos x="4" y="126"/>
                </a:cxn>
                <a:cxn ang="0">
                  <a:pos x="6" y="158"/>
                </a:cxn>
                <a:cxn ang="0">
                  <a:pos x="28" y="178"/>
                </a:cxn>
                <a:cxn ang="0">
                  <a:pos x="20" y="196"/>
                </a:cxn>
                <a:cxn ang="0">
                  <a:pos x="4" y="218"/>
                </a:cxn>
                <a:cxn ang="0">
                  <a:pos x="22" y="244"/>
                </a:cxn>
                <a:cxn ang="0">
                  <a:pos x="46" y="244"/>
                </a:cxn>
                <a:cxn ang="0">
                  <a:pos x="52" y="268"/>
                </a:cxn>
                <a:cxn ang="0">
                  <a:pos x="48" y="296"/>
                </a:cxn>
                <a:cxn ang="0">
                  <a:pos x="76" y="310"/>
                </a:cxn>
                <a:cxn ang="0">
                  <a:pos x="106" y="302"/>
                </a:cxn>
                <a:cxn ang="0">
                  <a:pos x="116" y="316"/>
                </a:cxn>
                <a:cxn ang="0">
                  <a:pos x="126" y="342"/>
                </a:cxn>
                <a:cxn ang="0">
                  <a:pos x="158" y="338"/>
                </a:cxn>
                <a:cxn ang="0">
                  <a:pos x="178" y="318"/>
                </a:cxn>
                <a:cxn ang="0">
                  <a:pos x="196" y="324"/>
                </a:cxn>
                <a:cxn ang="0">
                  <a:pos x="216" y="342"/>
                </a:cxn>
                <a:cxn ang="0">
                  <a:pos x="242" y="324"/>
                </a:cxn>
                <a:cxn ang="0">
                  <a:pos x="250" y="294"/>
                </a:cxn>
                <a:cxn ang="0">
                  <a:pos x="268" y="292"/>
                </a:cxn>
                <a:cxn ang="0">
                  <a:pos x="296" y="296"/>
                </a:cxn>
                <a:cxn ang="0">
                  <a:pos x="308" y="268"/>
                </a:cxn>
                <a:cxn ang="0">
                  <a:pos x="300" y="240"/>
                </a:cxn>
                <a:cxn ang="0">
                  <a:pos x="316" y="228"/>
                </a:cxn>
                <a:cxn ang="0">
                  <a:pos x="340" y="218"/>
                </a:cxn>
                <a:cxn ang="0">
                  <a:pos x="338" y="186"/>
                </a:cxn>
                <a:cxn ang="0">
                  <a:pos x="316" y="166"/>
                </a:cxn>
                <a:cxn ang="0">
                  <a:pos x="324" y="148"/>
                </a:cxn>
                <a:cxn ang="0">
                  <a:pos x="340" y="128"/>
                </a:cxn>
                <a:cxn ang="0">
                  <a:pos x="322" y="102"/>
                </a:cxn>
                <a:cxn ang="0">
                  <a:pos x="294" y="94"/>
                </a:cxn>
                <a:cxn ang="0">
                  <a:pos x="292" y="76"/>
                </a:cxn>
                <a:cxn ang="0">
                  <a:pos x="296" y="50"/>
                </a:cxn>
                <a:cxn ang="0">
                  <a:pos x="268" y="36"/>
                </a:cxn>
                <a:cxn ang="0">
                  <a:pos x="238" y="44"/>
                </a:cxn>
                <a:cxn ang="0">
                  <a:pos x="228" y="28"/>
                </a:cxn>
                <a:cxn ang="0">
                  <a:pos x="218" y="4"/>
                </a:cxn>
                <a:cxn ang="0">
                  <a:pos x="186" y="6"/>
                </a:cxn>
                <a:cxn ang="0">
                  <a:pos x="166" y="28"/>
                </a:cxn>
                <a:cxn ang="0">
                  <a:pos x="148" y="20"/>
                </a:cxn>
                <a:cxn ang="0">
                  <a:pos x="128" y="4"/>
                </a:cxn>
                <a:cxn ang="0">
                  <a:pos x="102" y="22"/>
                </a:cxn>
                <a:cxn ang="0">
                  <a:pos x="94" y="50"/>
                </a:cxn>
                <a:cxn ang="0">
                  <a:pos x="76" y="52"/>
                </a:cxn>
                <a:cxn ang="0">
                  <a:pos x="48" y="48"/>
                </a:cxn>
                <a:cxn ang="0">
                  <a:pos x="36" y="78"/>
                </a:cxn>
                <a:cxn ang="0">
                  <a:pos x="162" y="72"/>
                </a:cxn>
                <a:cxn ang="0">
                  <a:pos x="248" y="106"/>
                </a:cxn>
                <a:cxn ang="0">
                  <a:pos x="272" y="182"/>
                </a:cxn>
                <a:cxn ang="0">
                  <a:pos x="222" y="260"/>
                </a:cxn>
                <a:cxn ang="0">
                  <a:pos x="144" y="270"/>
                </a:cxn>
                <a:cxn ang="0">
                  <a:pos x="76" y="204"/>
                </a:cxn>
                <a:cxn ang="0">
                  <a:pos x="82" y="126"/>
                </a:cxn>
                <a:cxn ang="0">
                  <a:pos x="142" y="76"/>
                </a:cxn>
              </a:cxnLst>
              <a:rect l="0" t="0" r="r" b="b"/>
              <a:pathLst>
                <a:path w="344" h="344">
                  <a:moveTo>
                    <a:pt x="38" y="82"/>
                  </a:moveTo>
                  <a:lnTo>
                    <a:pt x="38" y="82"/>
                  </a:lnTo>
                  <a:lnTo>
                    <a:pt x="42" y="90"/>
                  </a:lnTo>
                  <a:lnTo>
                    <a:pt x="44" y="98"/>
                  </a:lnTo>
                  <a:lnTo>
                    <a:pt x="44" y="106"/>
                  </a:lnTo>
                  <a:lnTo>
                    <a:pt x="42" y="112"/>
                  </a:lnTo>
                  <a:lnTo>
                    <a:pt x="42" y="112"/>
                  </a:lnTo>
                  <a:lnTo>
                    <a:pt x="40" y="114"/>
                  </a:lnTo>
                  <a:lnTo>
                    <a:pt x="34" y="116"/>
                  </a:lnTo>
                  <a:lnTo>
                    <a:pt x="28" y="118"/>
                  </a:lnTo>
                  <a:lnTo>
                    <a:pt x="22" y="116"/>
                  </a:lnTo>
                  <a:lnTo>
                    <a:pt x="22" y="116"/>
                  </a:lnTo>
                  <a:lnTo>
                    <a:pt x="14" y="116"/>
                  </a:lnTo>
                  <a:lnTo>
                    <a:pt x="8" y="120"/>
                  </a:lnTo>
                  <a:lnTo>
                    <a:pt x="4" y="12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44"/>
                  </a:lnTo>
                  <a:lnTo>
                    <a:pt x="2" y="152"/>
                  </a:lnTo>
                  <a:lnTo>
                    <a:pt x="6" y="158"/>
                  </a:lnTo>
                  <a:lnTo>
                    <a:pt x="12" y="162"/>
                  </a:lnTo>
                  <a:lnTo>
                    <a:pt x="12" y="162"/>
                  </a:lnTo>
                  <a:lnTo>
                    <a:pt x="18" y="166"/>
                  </a:lnTo>
                  <a:lnTo>
                    <a:pt x="24" y="172"/>
                  </a:lnTo>
                  <a:lnTo>
                    <a:pt x="28" y="178"/>
                  </a:lnTo>
                  <a:lnTo>
                    <a:pt x="28" y="184"/>
                  </a:lnTo>
                  <a:lnTo>
                    <a:pt x="28" y="184"/>
                  </a:lnTo>
                  <a:lnTo>
                    <a:pt x="28" y="188"/>
                  </a:lnTo>
                  <a:lnTo>
                    <a:pt x="24" y="192"/>
                  </a:lnTo>
                  <a:lnTo>
                    <a:pt x="20" y="196"/>
                  </a:lnTo>
                  <a:lnTo>
                    <a:pt x="14" y="200"/>
                  </a:lnTo>
                  <a:lnTo>
                    <a:pt x="14" y="200"/>
                  </a:lnTo>
                  <a:lnTo>
                    <a:pt x="8" y="202"/>
                  </a:lnTo>
                  <a:lnTo>
                    <a:pt x="4" y="210"/>
                  </a:lnTo>
                  <a:lnTo>
                    <a:pt x="4" y="218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8" y="234"/>
                  </a:lnTo>
                  <a:lnTo>
                    <a:pt x="14" y="240"/>
                  </a:lnTo>
                  <a:lnTo>
                    <a:pt x="22" y="244"/>
                  </a:lnTo>
                  <a:lnTo>
                    <a:pt x="28" y="244"/>
                  </a:lnTo>
                  <a:lnTo>
                    <a:pt x="28" y="244"/>
                  </a:lnTo>
                  <a:lnTo>
                    <a:pt x="34" y="242"/>
                  </a:lnTo>
                  <a:lnTo>
                    <a:pt x="40" y="242"/>
                  </a:lnTo>
                  <a:lnTo>
                    <a:pt x="46" y="244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50" y="252"/>
                  </a:lnTo>
                  <a:lnTo>
                    <a:pt x="52" y="260"/>
                  </a:lnTo>
                  <a:lnTo>
                    <a:pt x="52" y="268"/>
                  </a:lnTo>
                  <a:lnTo>
                    <a:pt x="48" y="274"/>
                  </a:lnTo>
                  <a:lnTo>
                    <a:pt x="48" y="274"/>
                  </a:lnTo>
                  <a:lnTo>
                    <a:pt x="46" y="280"/>
                  </a:lnTo>
                  <a:lnTo>
                    <a:pt x="46" y="288"/>
                  </a:lnTo>
                  <a:lnTo>
                    <a:pt x="48" y="296"/>
                  </a:lnTo>
                  <a:lnTo>
                    <a:pt x="54" y="302"/>
                  </a:lnTo>
                  <a:lnTo>
                    <a:pt x="54" y="302"/>
                  </a:lnTo>
                  <a:lnTo>
                    <a:pt x="62" y="308"/>
                  </a:lnTo>
                  <a:lnTo>
                    <a:pt x="70" y="310"/>
                  </a:lnTo>
                  <a:lnTo>
                    <a:pt x="76" y="310"/>
                  </a:lnTo>
                  <a:lnTo>
                    <a:pt x="82" y="306"/>
                  </a:lnTo>
                  <a:lnTo>
                    <a:pt x="82" y="306"/>
                  </a:lnTo>
                  <a:lnTo>
                    <a:pt x="88" y="302"/>
                  </a:lnTo>
                  <a:lnTo>
                    <a:pt x="98" y="300"/>
                  </a:lnTo>
                  <a:lnTo>
                    <a:pt x="106" y="302"/>
                  </a:lnTo>
                  <a:lnTo>
                    <a:pt x="110" y="302"/>
                  </a:lnTo>
                  <a:lnTo>
                    <a:pt x="110" y="302"/>
                  </a:lnTo>
                  <a:lnTo>
                    <a:pt x="114" y="306"/>
                  </a:lnTo>
                  <a:lnTo>
                    <a:pt x="116" y="310"/>
                  </a:lnTo>
                  <a:lnTo>
                    <a:pt x="116" y="316"/>
                  </a:lnTo>
                  <a:lnTo>
                    <a:pt x="116" y="322"/>
                  </a:lnTo>
                  <a:lnTo>
                    <a:pt x="116" y="322"/>
                  </a:lnTo>
                  <a:lnTo>
                    <a:pt x="116" y="330"/>
                  </a:lnTo>
                  <a:lnTo>
                    <a:pt x="120" y="336"/>
                  </a:lnTo>
                  <a:lnTo>
                    <a:pt x="126" y="342"/>
                  </a:lnTo>
                  <a:lnTo>
                    <a:pt x="134" y="344"/>
                  </a:lnTo>
                  <a:lnTo>
                    <a:pt x="134" y="344"/>
                  </a:lnTo>
                  <a:lnTo>
                    <a:pt x="144" y="344"/>
                  </a:lnTo>
                  <a:lnTo>
                    <a:pt x="152" y="342"/>
                  </a:lnTo>
                  <a:lnTo>
                    <a:pt x="158" y="338"/>
                  </a:lnTo>
                  <a:lnTo>
                    <a:pt x="162" y="332"/>
                  </a:lnTo>
                  <a:lnTo>
                    <a:pt x="162" y="332"/>
                  </a:lnTo>
                  <a:lnTo>
                    <a:pt x="164" y="326"/>
                  </a:lnTo>
                  <a:lnTo>
                    <a:pt x="172" y="322"/>
                  </a:lnTo>
                  <a:lnTo>
                    <a:pt x="178" y="318"/>
                  </a:lnTo>
                  <a:lnTo>
                    <a:pt x="184" y="316"/>
                  </a:lnTo>
                  <a:lnTo>
                    <a:pt x="184" y="316"/>
                  </a:lnTo>
                  <a:lnTo>
                    <a:pt x="188" y="316"/>
                  </a:lnTo>
                  <a:lnTo>
                    <a:pt x="192" y="320"/>
                  </a:lnTo>
                  <a:lnTo>
                    <a:pt x="196" y="324"/>
                  </a:lnTo>
                  <a:lnTo>
                    <a:pt x="198" y="330"/>
                  </a:lnTo>
                  <a:lnTo>
                    <a:pt x="198" y="330"/>
                  </a:lnTo>
                  <a:lnTo>
                    <a:pt x="202" y="336"/>
                  </a:lnTo>
                  <a:lnTo>
                    <a:pt x="208" y="340"/>
                  </a:lnTo>
                  <a:lnTo>
                    <a:pt x="216" y="342"/>
                  </a:lnTo>
                  <a:lnTo>
                    <a:pt x="226" y="340"/>
                  </a:lnTo>
                  <a:lnTo>
                    <a:pt x="226" y="340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2" y="324"/>
                  </a:lnTo>
                  <a:lnTo>
                    <a:pt x="242" y="316"/>
                  </a:lnTo>
                  <a:lnTo>
                    <a:pt x="242" y="316"/>
                  </a:lnTo>
                  <a:lnTo>
                    <a:pt x="242" y="310"/>
                  </a:lnTo>
                  <a:lnTo>
                    <a:pt x="246" y="302"/>
                  </a:lnTo>
                  <a:lnTo>
                    <a:pt x="250" y="294"/>
                  </a:lnTo>
                  <a:lnTo>
                    <a:pt x="254" y="290"/>
                  </a:lnTo>
                  <a:lnTo>
                    <a:pt x="254" y="290"/>
                  </a:lnTo>
                  <a:lnTo>
                    <a:pt x="258" y="290"/>
                  </a:lnTo>
                  <a:lnTo>
                    <a:pt x="264" y="290"/>
                  </a:lnTo>
                  <a:lnTo>
                    <a:pt x="268" y="292"/>
                  </a:lnTo>
                  <a:lnTo>
                    <a:pt x="274" y="296"/>
                  </a:lnTo>
                  <a:lnTo>
                    <a:pt x="274" y="296"/>
                  </a:lnTo>
                  <a:lnTo>
                    <a:pt x="280" y="300"/>
                  </a:lnTo>
                  <a:lnTo>
                    <a:pt x="288" y="300"/>
                  </a:lnTo>
                  <a:lnTo>
                    <a:pt x="296" y="296"/>
                  </a:lnTo>
                  <a:lnTo>
                    <a:pt x="302" y="290"/>
                  </a:lnTo>
                  <a:lnTo>
                    <a:pt x="302" y="290"/>
                  </a:lnTo>
                  <a:lnTo>
                    <a:pt x="308" y="282"/>
                  </a:lnTo>
                  <a:lnTo>
                    <a:pt x="310" y="274"/>
                  </a:lnTo>
                  <a:lnTo>
                    <a:pt x="308" y="268"/>
                  </a:lnTo>
                  <a:lnTo>
                    <a:pt x="306" y="262"/>
                  </a:lnTo>
                  <a:lnTo>
                    <a:pt x="306" y="262"/>
                  </a:lnTo>
                  <a:lnTo>
                    <a:pt x="302" y="256"/>
                  </a:lnTo>
                  <a:lnTo>
                    <a:pt x="300" y="248"/>
                  </a:lnTo>
                  <a:lnTo>
                    <a:pt x="300" y="240"/>
                  </a:lnTo>
                  <a:lnTo>
                    <a:pt x="302" y="234"/>
                  </a:lnTo>
                  <a:lnTo>
                    <a:pt x="302" y="234"/>
                  </a:lnTo>
                  <a:lnTo>
                    <a:pt x="304" y="230"/>
                  </a:lnTo>
                  <a:lnTo>
                    <a:pt x="310" y="228"/>
                  </a:lnTo>
                  <a:lnTo>
                    <a:pt x="316" y="228"/>
                  </a:lnTo>
                  <a:lnTo>
                    <a:pt x="322" y="228"/>
                  </a:lnTo>
                  <a:lnTo>
                    <a:pt x="322" y="228"/>
                  </a:lnTo>
                  <a:lnTo>
                    <a:pt x="330" y="228"/>
                  </a:lnTo>
                  <a:lnTo>
                    <a:pt x="336" y="224"/>
                  </a:lnTo>
                  <a:lnTo>
                    <a:pt x="340" y="218"/>
                  </a:lnTo>
                  <a:lnTo>
                    <a:pt x="344" y="210"/>
                  </a:lnTo>
                  <a:lnTo>
                    <a:pt x="344" y="210"/>
                  </a:lnTo>
                  <a:lnTo>
                    <a:pt x="344" y="200"/>
                  </a:lnTo>
                  <a:lnTo>
                    <a:pt x="342" y="192"/>
                  </a:lnTo>
                  <a:lnTo>
                    <a:pt x="338" y="186"/>
                  </a:lnTo>
                  <a:lnTo>
                    <a:pt x="332" y="184"/>
                  </a:lnTo>
                  <a:lnTo>
                    <a:pt x="332" y="184"/>
                  </a:lnTo>
                  <a:lnTo>
                    <a:pt x="326" y="180"/>
                  </a:lnTo>
                  <a:lnTo>
                    <a:pt x="320" y="174"/>
                  </a:lnTo>
                  <a:lnTo>
                    <a:pt x="316" y="166"/>
                  </a:lnTo>
                  <a:lnTo>
                    <a:pt x="316" y="160"/>
                  </a:lnTo>
                  <a:lnTo>
                    <a:pt x="316" y="160"/>
                  </a:lnTo>
                  <a:lnTo>
                    <a:pt x="316" y="156"/>
                  </a:lnTo>
                  <a:lnTo>
                    <a:pt x="320" y="152"/>
                  </a:lnTo>
                  <a:lnTo>
                    <a:pt x="324" y="148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6" y="142"/>
                  </a:lnTo>
                  <a:lnTo>
                    <a:pt x="340" y="136"/>
                  </a:lnTo>
                  <a:lnTo>
                    <a:pt x="340" y="128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36" y="110"/>
                  </a:lnTo>
                  <a:lnTo>
                    <a:pt x="330" y="104"/>
                  </a:lnTo>
                  <a:lnTo>
                    <a:pt x="322" y="102"/>
                  </a:lnTo>
                  <a:lnTo>
                    <a:pt x="316" y="102"/>
                  </a:lnTo>
                  <a:lnTo>
                    <a:pt x="316" y="102"/>
                  </a:lnTo>
                  <a:lnTo>
                    <a:pt x="308" y="102"/>
                  </a:lnTo>
                  <a:lnTo>
                    <a:pt x="302" y="98"/>
                  </a:lnTo>
                  <a:lnTo>
                    <a:pt x="294" y="94"/>
                  </a:lnTo>
                  <a:lnTo>
                    <a:pt x="290" y="90"/>
                  </a:lnTo>
                  <a:lnTo>
                    <a:pt x="290" y="90"/>
                  </a:lnTo>
                  <a:lnTo>
                    <a:pt x="288" y="86"/>
                  </a:lnTo>
                  <a:lnTo>
                    <a:pt x="290" y="82"/>
                  </a:lnTo>
                  <a:lnTo>
                    <a:pt x="292" y="76"/>
                  </a:lnTo>
                  <a:lnTo>
                    <a:pt x="296" y="70"/>
                  </a:lnTo>
                  <a:lnTo>
                    <a:pt x="296" y="70"/>
                  </a:lnTo>
                  <a:lnTo>
                    <a:pt x="298" y="64"/>
                  </a:lnTo>
                  <a:lnTo>
                    <a:pt x="298" y="56"/>
                  </a:lnTo>
                  <a:lnTo>
                    <a:pt x="296" y="50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82" y="38"/>
                  </a:lnTo>
                  <a:lnTo>
                    <a:pt x="274" y="34"/>
                  </a:lnTo>
                  <a:lnTo>
                    <a:pt x="268" y="36"/>
                  </a:lnTo>
                  <a:lnTo>
                    <a:pt x="262" y="40"/>
                  </a:lnTo>
                  <a:lnTo>
                    <a:pt x="262" y="40"/>
                  </a:lnTo>
                  <a:lnTo>
                    <a:pt x="256" y="42"/>
                  </a:lnTo>
                  <a:lnTo>
                    <a:pt x="246" y="44"/>
                  </a:lnTo>
                  <a:lnTo>
                    <a:pt x="238" y="44"/>
                  </a:lnTo>
                  <a:lnTo>
                    <a:pt x="234" y="42"/>
                  </a:lnTo>
                  <a:lnTo>
                    <a:pt x="234" y="42"/>
                  </a:lnTo>
                  <a:lnTo>
                    <a:pt x="230" y="40"/>
                  </a:lnTo>
                  <a:lnTo>
                    <a:pt x="228" y="34"/>
                  </a:lnTo>
                  <a:lnTo>
                    <a:pt x="228" y="28"/>
                  </a:lnTo>
                  <a:lnTo>
                    <a:pt x="228" y="22"/>
                  </a:lnTo>
                  <a:lnTo>
                    <a:pt x="228" y="22"/>
                  </a:lnTo>
                  <a:lnTo>
                    <a:pt x="228" y="16"/>
                  </a:lnTo>
                  <a:lnTo>
                    <a:pt x="224" y="8"/>
                  </a:lnTo>
                  <a:lnTo>
                    <a:pt x="218" y="4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00" y="0"/>
                  </a:lnTo>
                  <a:lnTo>
                    <a:pt x="192" y="2"/>
                  </a:lnTo>
                  <a:lnTo>
                    <a:pt x="186" y="6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80" y="18"/>
                  </a:lnTo>
                  <a:lnTo>
                    <a:pt x="172" y="24"/>
                  </a:lnTo>
                  <a:lnTo>
                    <a:pt x="166" y="28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56" y="28"/>
                  </a:lnTo>
                  <a:lnTo>
                    <a:pt x="152" y="26"/>
                  </a:lnTo>
                  <a:lnTo>
                    <a:pt x="148" y="20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2" y="8"/>
                  </a:lnTo>
                  <a:lnTo>
                    <a:pt x="136" y="4"/>
                  </a:lnTo>
                  <a:lnTo>
                    <a:pt x="128" y="4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0" y="10"/>
                  </a:lnTo>
                  <a:lnTo>
                    <a:pt x="104" y="14"/>
                  </a:lnTo>
                  <a:lnTo>
                    <a:pt x="102" y="22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36"/>
                  </a:lnTo>
                  <a:lnTo>
                    <a:pt x="98" y="44"/>
                  </a:lnTo>
                  <a:lnTo>
                    <a:pt x="94" y="50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6" y="56"/>
                  </a:lnTo>
                  <a:lnTo>
                    <a:pt x="80" y="54"/>
                  </a:lnTo>
                  <a:lnTo>
                    <a:pt x="76" y="52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64" y="46"/>
                  </a:lnTo>
                  <a:lnTo>
                    <a:pt x="56" y="46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36" y="62"/>
                  </a:lnTo>
                  <a:lnTo>
                    <a:pt x="34" y="70"/>
                  </a:lnTo>
                  <a:lnTo>
                    <a:pt x="36" y="78"/>
                  </a:lnTo>
                  <a:lnTo>
                    <a:pt x="38" y="82"/>
                  </a:lnTo>
                  <a:lnTo>
                    <a:pt x="38" y="82"/>
                  </a:lnTo>
                  <a:close/>
                  <a:moveTo>
                    <a:pt x="142" y="76"/>
                  </a:moveTo>
                  <a:lnTo>
                    <a:pt x="142" y="76"/>
                  </a:lnTo>
                  <a:lnTo>
                    <a:pt x="162" y="72"/>
                  </a:lnTo>
                  <a:lnTo>
                    <a:pt x="180" y="72"/>
                  </a:lnTo>
                  <a:lnTo>
                    <a:pt x="200" y="76"/>
                  </a:lnTo>
                  <a:lnTo>
                    <a:pt x="218" y="82"/>
                  </a:lnTo>
                  <a:lnTo>
                    <a:pt x="234" y="94"/>
                  </a:lnTo>
                  <a:lnTo>
                    <a:pt x="248" y="106"/>
                  </a:lnTo>
                  <a:lnTo>
                    <a:pt x="260" y="122"/>
                  </a:lnTo>
                  <a:lnTo>
                    <a:pt x="268" y="142"/>
                  </a:lnTo>
                  <a:lnTo>
                    <a:pt x="268" y="142"/>
                  </a:lnTo>
                  <a:lnTo>
                    <a:pt x="272" y="162"/>
                  </a:lnTo>
                  <a:lnTo>
                    <a:pt x="272" y="182"/>
                  </a:lnTo>
                  <a:lnTo>
                    <a:pt x="268" y="200"/>
                  </a:lnTo>
                  <a:lnTo>
                    <a:pt x="262" y="218"/>
                  </a:lnTo>
                  <a:lnTo>
                    <a:pt x="252" y="234"/>
                  </a:lnTo>
                  <a:lnTo>
                    <a:pt x="238" y="248"/>
                  </a:lnTo>
                  <a:lnTo>
                    <a:pt x="222" y="260"/>
                  </a:lnTo>
                  <a:lnTo>
                    <a:pt x="202" y="268"/>
                  </a:lnTo>
                  <a:lnTo>
                    <a:pt x="202" y="268"/>
                  </a:lnTo>
                  <a:lnTo>
                    <a:pt x="182" y="272"/>
                  </a:lnTo>
                  <a:lnTo>
                    <a:pt x="164" y="272"/>
                  </a:lnTo>
                  <a:lnTo>
                    <a:pt x="144" y="270"/>
                  </a:lnTo>
                  <a:lnTo>
                    <a:pt x="126" y="262"/>
                  </a:lnTo>
                  <a:lnTo>
                    <a:pt x="110" y="252"/>
                  </a:lnTo>
                  <a:lnTo>
                    <a:pt x="96" y="238"/>
                  </a:lnTo>
                  <a:lnTo>
                    <a:pt x="84" y="222"/>
                  </a:lnTo>
                  <a:lnTo>
                    <a:pt x="76" y="204"/>
                  </a:lnTo>
                  <a:lnTo>
                    <a:pt x="76" y="204"/>
                  </a:lnTo>
                  <a:lnTo>
                    <a:pt x="72" y="184"/>
                  </a:lnTo>
                  <a:lnTo>
                    <a:pt x="72" y="164"/>
                  </a:lnTo>
                  <a:lnTo>
                    <a:pt x="76" y="144"/>
                  </a:lnTo>
                  <a:lnTo>
                    <a:pt x="82" y="126"/>
                  </a:lnTo>
                  <a:lnTo>
                    <a:pt x="92" y="110"/>
                  </a:lnTo>
                  <a:lnTo>
                    <a:pt x="106" y="96"/>
                  </a:lnTo>
                  <a:lnTo>
                    <a:pt x="122" y="84"/>
                  </a:lnTo>
                  <a:lnTo>
                    <a:pt x="142" y="76"/>
                  </a:lnTo>
                  <a:lnTo>
                    <a:pt x="142" y="7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DF3D2F8D-9C32-42BC-9D15-587FE041E7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8593" y="2025650"/>
              <a:ext cx="352425" cy="349250"/>
            </a:xfrm>
            <a:custGeom>
              <a:avLst/>
              <a:gdLst/>
              <a:ahLst/>
              <a:cxnLst>
                <a:cxn ang="0">
                  <a:pos x="28" y="70"/>
                </a:cxn>
                <a:cxn ang="0">
                  <a:pos x="14" y="74"/>
                </a:cxn>
                <a:cxn ang="0">
                  <a:pos x="0" y="86"/>
                </a:cxn>
                <a:cxn ang="0">
                  <a:pos x="8" y="102"/>
                </a:cxn>
                <a:cxn ang="0">
                  <a:pos x="18" y="120"/>
                </a:cxn>
                <a:cxn ang="0">
                  <a:pos x="4" y="134"/>
                </a:cxn>
                <a:cxn ang="0">
                  <a:pos x="10" y="154"/>
                </a:cxn>
                <a:cxn ang="0">
                  <a:pos x="30" y="156"/>
                </a:cxn>
                <a:cxn ang="0">
                  <a:pos x="32" y="176"/>
                </a:cxn>
                <a:cxn ang="0">
                  <a:pos x="36" y="194"/>
                </a:cxn>
                <a:cxn ang="0">
                  <a:pos x="54" y="196"/>
                </a:cxn>
                <a:cxn ang="0">
                  <a:pos x="72" y="194"/>
                </a:cxn>
                <a:cxn ang="0">
                  <a:pos x="76" y="212"/>
                </a:cxn>
                <a:cxn ang="0">
                  <a:pos x="94" y="220"/>
                </a:cxn>
                <a:cxn ang="0">
                  <a:pos x="106" y="208"/>
                </a:cxn>
                <a:cxn ang="0">
                  <a:pos x="124" y="204"/>
                </a:cxn>
                <a:cxn ang="0">
                  <a:pos x="140" y="218"/>
                </a:cxn>
                <a:cxn ang="0">
                  <a:pos x="156" y="208"/>
                </a:cxn>
                <a:cxn ang="0">
                  <a:pos x="164" y="186"/>
                </a:cxn>
                <a:cxn ang="0">
                  <a:pos x="176" y="190"/>
                </a:cxn>
                <a:cxn ang="0">
                  <a:pos x="194" y="186"/>
                </a:cxn>
                <a:cxn ang="0">
                  <a:pos x="196" y="168"/>
                </a:cxn>
                <a:cxn ang="0">
                  <a:pos x="196" y="148"/>
                </a:cxn>
                <a:cxn ang="0">
                  <a:pos x="216" y="144"/>
                </a:cxn>
                <a:cxn ang="0">
                  <a:pos x="220" y="122"/>
                </a:cxn>
                <a:cxn ang="0">
                  <a:pos x="206" y="110"/>
                </a:cxn>
                <a:cxn ang="0">
                  <a:pos x="212" y="92"/>
                </a:cxn>
                <a:cxn ang="0">
                  <a:pos x="218" y="76"/>
                </a:cxn>
                <a:cxn ang="0">
                  <a:pos x="204" y="64"/>
                </a:cxn>
                <a:cxn ang="0">
                  <a:pos x="188" y="58"/>
                </a:cxn>
                <a:cxn ang="0">
                  <a:pos x="192" y="40"/>
                </a:cxn>
                <a:cxn ang="0">
                  <a:pos x="182" y="22"/>
                </a:cxn>
                <a:cxn ang="0">
                  <a:pos x="164" y="26"/>
                </a:cxn>
                <a:cxn ang="0">
                  <a:pos x="148" y="22"/>
                </a:cxn>
                <a:cxn ang="0">
                  <a:pos x="140" y="2"/>
                </a:cxn>
                <a:cxn ang="0">
                  <a:pos x="120" y="4"/>
                </a:cxn>
                <a:cxn ang="0">
                  <a:pos x="104" y="18"/>
                </a:cxn>
                <a:cxn ang="0">
                  <a:pos x="94" y="8"/>
                </a:cxn>
                <a:cxn ang="0">
                  <a:pos x="76" y="2"/>
                </a:cxn>
                <a:cxn ang="0">
                  <a:pos x="66" y="18"/>
                </a:cxn>
                <a:cxn ang="0">
                  <a:pos x="56" y="34"/>
                </a:cxn>
                <a:cxn ang="0">
                  <a:pos x="36" y="28"/>
                </a:cxn>
                <a:cxn ang="0">
                  <a:pos x="22" y="44"/>
                </a:cxn>
                <a:cxn ang="0">
                  <a:pos x="92" y="48"/>
                </a:cxn>
                <a:cxn ang="0">
                  <a:pos x="152" y="58"/>
                </a:cxn>
                <a:cxn ang="0">
                  <a:pos x="176" y="102"/>
                </a:cxn>
                <a:cxn ang="0">
                  <a:pos x="154" y="160"/>
                </a:cxn>
                <a:cxn ang="0">
                  <a:pos x="106" y="174"/>
                </a:cxn>
                <a:cxn ang="0">
                  <a:pos x="54" y="142"/>
                </a:cxn>
                <a:cxn ang="0">
                  <a:pos x="48" y="92"/>
                </a:cxn>
                <a:cxn ang="0">
                  <a:pos x="92" y="48"/>
                </a:cxn>
              </a:cxnLst>
              <a:rect l="0" t="0" r="r" b="b"/>
              <a:pathLst>
                <a:path w="222" h="220">
                  <a:moveTo>
                    <a:pt x="26" y="52"/>
                  </a:moveTo>
                  <a:lnTo>
                    <a:pt x="26" y="52"/>
                  </a:lnTo>
                  <a:lnTo>
                    <a:pt x="28" y="56"/>
                  </a:lnTo>
                  <a:lnTo>
                    <a:pt x="28" y="62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6" y="72"/>
                  </a:lnTo>
                  <a:lnTo>
                    <a:pt x="22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2" y="8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92"/>
                  </a:lnTo>
                  <a:lnTo>
                    <a:pt x="2" y="98"/>
                  </a:lnTo>
                  <a:lnTo>
                    <a:pt x="4" y="100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12" y="106"/>
                  </a:lnTo>
                  <a:lnTo>
                    <a:pt x="16" y="110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20"/>
                  </a:lnTo>
                  <a:lnTo>
                    <a:pt x="16" y="122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6" y="130"/>
                  </a:lnTo>
                  <a:lnTo>
                    <a:pt x="4" y="134"/>
                  </a:lnTo>
                  <a:lnTo>
                    <a:pt x="2" y="138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6" y="150"/>
                  </a:lnTo>
                  <a:lnTo>
                    <a:pt x="10" y="154"/>
                  </a:lnTo>
                  <a:lnTo>
                    <a:pt x="14" y="156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26" y="154"/>
                  </a:lnTo>
                  <a:lnTo>
                    <a:pt x="30" y="156"/>
                  </a:lnTo>
                  <a:lnTo>
                    <a:pt x="32" y="158"/>
                  </a:lnTo>
                  <a:lnTo>
                    <a:pt x="32" y="158"/>
                  </a:lnTo>
                  <a:lnTo>
                    <a:pt x="34" y="166"/>
                  </a:lnTo>
                  <a:lnTo>
                    <a:pt x="34" y="172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0" y="180"/>
                  </a:lnTo>
                  <a:lnTo>
                    <a:pt x="30" y="184"/>
                  </a:lnTo>
                  <a:lnTo>
                    <a:pt x="32" y="190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40" y="196"/>
                  </a:lnTo>
                  <a:lnTo>
                    <a:pt x="46" y="198"/>
                  </a:lnTo>
                  <a:lnTo>
                    <a:pt x="50" y="198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8" y="194"/>
                  </a:lnTo>
                  <a:lnTo>
                    <a:pt x="62" y="192"/>
                  </a:lnTo>
                  <a:lnTo>
                    <a:pt x="72" y="194"/>
                  </a:lnTo>
                  <a:lnTo>
                    <a:pt x="72" y="194"/>
                  </a:lnTo>
                  <a:lnTo>
                    <a:pt x="74" y="196"/>
                  </a:lnTo>
                  <a:lnTo>
                    <a:pt x="74" y="198"/>
                  </a:lnTo>
                  <a:lnTo>
                    <a:pt x="76" y="206"/>
                  </a:lnTo>
                  <a:lnTo>
                    <a:pt x="76" y="206"/>
                  </a:lnTo>
                  <a:lnTo>
                    <a:pt x="76" y="212"/>
                  </a:lnTo>
                  <a:lnTo>
                    <a:pt x="78" y="216"/>
                  </a:lnTo>
                  <a:lnTo>
                    <a:pt x="82" y="218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4" y="220"/>
                  </a:lnTo>
                  <a:lnTo>
                    <a:pt x="98" y="220"/>
                  </a:lnTo>
                  <a:lnTo>
                    <a:pt x="102" y="216"/>
                  </a:lnTo>
                  <a:lnTo>
                    <a:pt x="104" y="212"/>
                  </a:lnTo>
                  <a:lnTo>
                    <a:pt x="104" y="212"/>
                  </a:lnTo>
                  <a:lnTo>
                    <a:pt x="106" y="208"/>
                  </a:lnTo>
                  <a:lnTo>
                    <a:pt x="110" y="206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22" y="202"/>
                  </a:lnTo>
                  <a:lnTo>
                    <a:pt x="124" y="204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30" y="216"/>
                  </a:lnTo>
                  <a:lnTo>
                    <a:pt x="134" y="218"/>
                  </a:lnTo>
                  <a:lnTo>
                    <a:pt x="140" y="218"/>
                  </a:lnTo>
                  <a:lnTo>
                    <a:pt x="146" y="218"/>
                  </a:lnTo>
                  <a:lnTo>
                    <a:pt x="146" y="218"/>
                  </a:lnTo>
                  <a:lnTo>
                    <a:pt x="150" y="214"/>
                  </a:lnTo>
                  <a:lnTo>
                    <a:pt x="154" y="212"/>
                  </a:lnTo>
                  <a:lnTo>
                    <a:pt x="156" y="208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6" y="198"/>
                  </a:lnTo>
                  <a:lnTo>
                    <a:pt x="158" y="192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6" y="186"/>
                  </a:lnTo>
                  <a:lnTo>
                    <a:pt x="170" y="186"/>
                  </a:lnTo>
                  <a:lnTo>
                    <a:pt x="176" y="190"/>
                  </a:lnTo>
                  <a:lnTo>
                    <a:pt x="176" y="190"/>
                  </a:lnTo>
                  <a:lnTo>
                    <a:pt x="180" y="192"/>
                  </a:lnTo>
                  <a:lnTo>
                    <a:pt x="186" y="192"/>
                  </a:lnTo>
                  <a:lnTo>
                    <a:pt x="190" y="190"/>
                  </a:lnTo>
                  <a:lnTo>
                    <a:pt x="194" y="186"/>
                  </a:lnTo>
                  <a:lnTo>
                    <a:pt x="194" y="186"/>
                  </a:lnTo>
                  <a:lnTo>
                    <a:pt x="198" y="180"/>
                  </a:lnTo>
                  <a:lnTo>
                    <a:pt x="200" y="176"/>
                  </a:lnTo>
                  <a:lnTo>
                    <a:pt x="200" y="172"/>
                  </a:lnTo>
                  <a:lnTo>
                    <a:pt x="196" y="168"/>
                  </a:lnTo>
                  <a:lnTo>
                    <a:pt x="196" y="168"/>
                  </a:lnTo>
                  <a:lnTo>
                    <a:pt x="194" y="164"/>
                  </a:lnTo>
                  <a:lnTo>
                    <a:pt x="194" y="158"/>
                  </a:lnTo>
                  <a:lnTo>
                    <a:pt x="194" y="150"/>
                  </a:lnTo>
                  <a:lnTo>
                    <a:pt x="194" y="150"/>
                  </a:lnTo>
                  <a:lnTo>
                    <a:pt x="196" y="148"/>
                  </a:lnTo>
                  <a:lnTo>
                    <a:pt x="200" y="146"/>
                  </a:lnTo>
                  <a:lnTo>
                    <a:pt x="208" y="146"/>
                  </a:lnTo>
                  <a:lnTo>
                    <a:pt x="208" y="146"/>
                  </a:lnTo>
                  <a:lnTo>
                    <a:pt x="212" y="146"/>
                  </a:lnTo>
                  <a:lnTo>
                    <a:pt x="216" y="144"/>
                  </a:lnTo>
                  <a:lnTo>
                    <a:pt x="220" y="140"/>
                  </a:lnTo>
                  <a:lnTo>
                    <a:pt x="222" y="134"/>
                  </a:lnTo>
                  <a:lnTo>
                    <a:pt x="222" y="134"/>
                  </a:lnTo>
                  <a:lnTo>
                    <a:pt x="222" y="128"/>
                  </a:lnTo>
                  <a:lnTo>
                    <a:pt x="220" y="122"/>
                  </a:lnTo>
                  <a:lnTo>
                    <a:pt x="218" y="118"/>
                  </a:lnTo>
                  <a:lnTo>
                    <a:pt x="214" y="116"/>
                  </a:lnTo>
                  <a:lnTo>
                    <a:pt x="214" y="116"/>
                  </a:lnTo>
                  <a:lnTo>
                    <a:pt x="210" y="114"/>
                  </a:lnTo>
                  <a:lnTo>
                    <a:pt x="206" y="110"/>
                  </a:lnTo>
                  <a:lnTo>
                    <a:pt x="204" y="102"/>
                  </a:lnTo>
                  <a:lnTo>
                    <a:pt x="204" y="102"/>
                  </a:lnTo>
                  <a:lnTo>
                    <a:pt x="204" y="100"/>
                  </a:lnTo>
                  <a:lnTo>
                    <a:pt x="206" y="96"/>
                  </a:lnTo>
                  <a:lnTo>
                    <a:pt x="212" y="92"/>
                  </a:lnTo>
                  <a:lnTo>
                    <a:pt x="212" y="92"/>
                  </a:lnTo>
                  <a:lnTo>
                    <a:pt x="216" y="90"/>
                  </a:lnTo>
                  <a:lnTo>
                    <a:pt x="218" y="86"/>
                  </a:lnTo>
                  <a:lnTo>
                    <a:pt x="220" y="82"/>
                  </a:lnTo>
                  <a:lnTo>
                    <a:pt x="218" y="76"/>
                  </a:lnTo>
                  <a:lnTo>
                    <a:pt x="218" y="76"/>
                  </a:lnTo>
                  <a:lnTo>
                    <a:pt x="216" y="70"/>
                  </a:lnTo>
                  <a:lnTo>
                    <a:pt x="212" y="66"/>
                  </a:lnTo>
                  <a:lnTo>
                    <a:pt x="208" y="64"/>
                  </a:lnTo>
                  <a:lnTo>
                    <a:pt x="204" y="64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194" y="62"/>
                  </a:lnTo>
                  <a:lnTo>
                    <a:pt x="188" y="58"/>
                  </a:lnTo>
                  <a:lnTo>
                    <a:pt x="188" y="58"/>
                  </a:lnTo>
                  <a:lnTo>
                    <a:pt x="186" y="54"/>
                  </a:lnTo>
                  <a:lnTo>
                    <a:pt x="186" y="52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2" y="40"/>
                  </a:lnTo>
                  <a:lnTo>
                    <a:pt x="192" y="36"/>
                  </a:lnTo>
                  <a:lnTo>
                    <a:pt x="190" y="30"/>
                  </a:lnTo>
                  <a:lnTo>
                    <a:pt x="188" y="26"/>
                  </a:lnTo>
                  <a:lnTo>
                    <a:pt x="188" y="26"/>
                  </a:lnTo>
                  <a:lnTo>
                    <a:pt x="182" y="22"/>
                  </a:lnTo>
                  <a:lnTo>
                    <a:pt x="178" y="22"/>
                  </a:lnTo>
                  <a:lnTo>
                    <a:pt x="172" y="22"/>
                  </a:lnTo>
                  <a:lnTo>
                    <a:pt x="168" y="24"/>
                  </a:lnTo>
                  <a:lnTo>
                    <a:pt x="168" y="24"/>
                  </a:lnTo>
                  <a:lnTo>
                    <a:pt x="164" y="26"/>
                  </a:lnTo>
                  <a:lnTo>
                    <a:pt x="160" y="28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48" y="24"/>
                  </a:lnTo>
                  <a:lnTo>
                    <a:pt x="148" y="22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6" y="8"/>
                  </a:lnTo>
                  <a:lnTo>
                    <a:pt x="144" y="4"/>
                  </a:lnTo>
                  <a:lnTo>
                    <a:pt x="140" y="2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24" y="0"/>
                  </a:lnTo>
                  <a:lnTo>
                    <a:pt x="120" y="4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6" y="10"/>
                  </a:lnTo>
                  <a:lnTo>
                    <a:pt x="112" y="14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0" y="18"/>
                  </a:lnTo>
                  <a:lnTo>
                    <a:pt x="98" y="16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88" y="2"/>
                  </a:lnTo>
                  <a:lnTo>
                    <a:pt x="82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2" y="4"/>
                  </a:lnTo>
                  <a:lnTo>
                    <a:pt x="68" y="8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22"/>
                  </a:lnTo>
                  <a:lnTo>
                    <a:pt x="64" y="26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2" y="28"/>
                  </a:lnTo>
                  <a:lnTo>
                    <a:pt x="36" y="28"/>
                  </a:lnTo>
                  <a:lnTo>
                    <a:pt x="32" y="30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4" y="38"/>
                  </a:lnTo>
                  <a:lnTo>
                    <a:pt x="22" y="44"/>
                  </a:lnTo>
                  <a:lnTo>
                    <a:pt x="24" y="48"/>
                  </a:lnTo>
                  <a:lnTo>
                    <a:pt x="26" y="52"/>
                  </a:lnTo>
                  <a:lnTo>
                    <a:pt x="26" y="52"/>
                  </a:lnTo>
                  <a:close/>
                  <a:moveTo>
                    <a:pt x="92" y="48"/>
                  </a:moveTo>
                  <a:lnTo>
                    <a:pt x="92" y="48"/>
                  </a:lnTo>
                  <a:lnTo>
                    <a:pt x="104" y="46"/>
                  </a:lnTo>
                  <a:lnTo>
                    <a:pt x="116" y="46"/>
                  </a:lnTo>
                  <a:lnTo>
                    <a:pt x="130" y="48"/>
                  </a:lnTo>
                  <a:lnTo>
                    <a:pt x="140" y="52"/>
                  </a:lnTo>
                  <a:lnTo>
                    <a:pt x="152" y="58"/>
                  </a:lnTo>
                  <a:lnTo>
                    <a:pt x="160" y="68"/>
                  </a:lnTo>
                  <a:lnTo>
                    <a:pt x="168" y="78"/>
                  </a:lnTo>
                  <a:lnTo>
                    <a:pt x="172" y="90"/>
                  </a:lnTo>
                  <a:lnTo>
                    <a:pt x="172" y="90"/>
                  </a:lnTo>
                  <a:lnTo>
                    <a:pt x="176" y="102"/>
                  </a:lnTo>
                  <a:lnTo>
                    <a:pt x="176" y="116"/>
                  </a:lnTo>
                  <a:lnTo>
                    <a:pt x="174" y="128"/>
                  </a:lnTo>
                  <a:lnTo>
                    <a:pt x="168" y="140"/>
                  </a:lnTo>
                  <a:lnTo>
                    <a:pt x="162" y="150"/>
                  </a:lnTo>
                  <a:lnTo>
                    <a:pt x="154" y="160"/>
                  </a:lnTo>
                  <a:lnTo>
                    <a:pt x="144" y="166"/>
                  </a:lnTo>
                  <a:lnTo>
                    <a:pt x="130" y="172"/>
                  </a:lnTo>
                  <a:lnTo>
                    <a:pt x="130" y="172"/>
                  </a:lnTo>
                  <a:lnTo>
                    <a:pt x="118" y="174"/>
                  </a:lnTo>
                  <a:lnTo>
                    <a:pt x="106" y="174"/>
                  </a:lnTo>
                  <a:lnTo>
                    <a:pt x="94" y="172"/>
                  </a:lnTo>
                  <a:lnTo>
                    <a:pt x="82" y="168"/>
                  </a:lnTo>
                  <a:lnTo>
                    <a:pt x="70" y="160"/>
                  </a:lnTo>
                  <a:lnTo>
                    <a:pt x="62" y="152"/>
                  </a:lnTo>
                  <a:lnTo>
                    <a:pt x="54" y="142"/>
                  </a:lnTo>
                  <a:lnTo>
                    <a:pt x="50" y="130"/>
                  </a:lnTo>
                  <a:lnTo>
                    <a:pt x="50" y="130"/>
                  </a:lnTo>
                  <a:lnTo>
                    <a:pt x="46" y="116"/>
                  </a:lnTo>
                  <a:lnTo>
                    <a:pt x="46" y="104"/>
                  </a:lnTo>
                  <a:lnTo>
                    <a:pt x="48" y="92"/>
                  </a:lnTo>
                  <a:lnTo>
                    <a:pt x="54" y="80"/>
                  </a:lnTo>
                  <a:lnTo>
                    <a:pt x="60" y="70"/>
                  </a:lnTo>
                  <a:lnTo>
                    <a:pt x="68" y="60"/>
                  </a:lnTo>
                  <a:lnTo>
                    <a:pt x="80" y="54"/>
                  </a:lnTo>
                  <a:lnTo>
                    <a:pt x="92" y="48"/>
                  </a:lnTo>
                  <a:lnTo>
                    <a:pt x="92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20C16AAB-7349-43B8-ACBD-164932FAB3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1776" y="2378075"/>
              <a:ext cx="269874" cy="269875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0" y="58"/>
                </a:cxn>
                <a:cxn ang="0">
                  <a:pos x="2" y="62"/>
                </a:cxn>
                <a:cxn ang="0">
                  <a:pos x="0" y="76"/>
                </a:cxn>
                <a:cxn ang="0">
                  <a:pos x="8" y="82"/>
                </a:cxn>
                <a:cxn ang="0">
                  <a:pos x="12" y="96"/>
                </a:cxn>
                <a:cxn ang="0">
                  <a:pos x="2" y="104"/>
                </a:cxn>
                <a:cxn ang="0">
                  <a:pos x="4" y="116"/>
                </a:cxn>
                <a:cxn ang="0">
                  <a:pos x="14" y="120"/>
                </a:cxn>
                <a:cxn ang="0">
                  <a:pos x="24" y="128"/>
                </a:cxn>
                <a:cxn ang="0">
                  <a:pos x="22" y="138"/>
                </a:cxn>
                <a:cxn ang="0">
                  <a:pos x="26" y="150"/>
                </a:cxn>
                <a:cxn ang="0">
                  <a:pos x="40" y="152"/>
                </a:cxn>
                <a:cxn ang="0">
                  <a:pos x="54" y="150"/>
                </a:cxn>
                <a:cxn ang="0">
                  <a:pos x="56" y="160"/>
                </a:cxn>
                <a:cxn ang="0">
                  <a:pos x="66" y="170"/>
                </a:cxn>
                <a:cxn ang="0">
                  <a:pos x="78" y="168"/>
                </a:cxn>
                <a:cxn ang="0">
                  <a:pos x="84" y="158"/>
                </a:cxn>
                <a:cxn ang="0">
                  <a:pos x="98" y="164"/>
                </a:cxn>
                <a:cxn ang="0">
                  <a:pos x="106" y="168"/>
                </a:cxn>
                <a:cxn ang="0">
                  <a:pos x="118" y="164"/>
                </a:cxn>
                <a:cxn ang="0">
                  <a:pos x="120" y="154"/>
                </a:cxn>
                <a:cxn ang="0">
                  <a:pos x="130" y="144"/>
                </a:cxn>
                <a:cxn ang="0">
                  <a:pos x="142" y="148"/>
                </a:cxn>
                <a:cxn ang="0">
                  <a:pos x="152" y="140"/>
                </a:cxn>
                <a:cxn ang="0">
                  <a:pos x="150" y="130"/>
                </a:cxn>
                <a:cxn ang="0">
                  <a:pos x="148" y="116"/>
                </a:cxn>
                <a:cxn ang="0">
                  <a:pos x="162" y="112"/>
                </a:cxn>
                <a:cxn ang="0">
                  <a:pos x="170" y="104"/>
                </a:cxn>
                <a:cxn ang="0">
                  <a:pos x="164" y="90"/>
                </a:cxn>
                <a:cxn ang="0">
                  <a:pos x="156" y="80"/>
                </a:cxn>
                <a:cxn ang="0">
                  <a:pos x="162" y="72"/>
                </a:cxn>
                <a:cxn ang="0">
                  <a:pos x="168" y="58"/>
                </a:cxn>
                <a:cxn ang="0">
                  <a:pos x="160" y="50"/>
                </a:cxn>
                <a:cxn ang="0">
                  <a:pos x="148" y="48"/>
                </a:cxn>
                <a:cxn ang="0">
                  <a:pos x="146" y="34"/>
                </a:cxn>
                <a:cxn ang="0">
                  <a:pos x="146" y="24"/>
                </a:cxn>
                <a:cxn ang="0">
                  <a:pos x="136" y="18"/>
                </a:cxn>
                <a:cxn ang="0">
                  <a:pos x="126" y="22"/>
                </a:cxn>
                <a:cxn ang="0">
                  <a:pos x="112" y="18"/>
                </a:cxn>
                <a:cxn ang="0">
                  <a:pos x="110" y="4"/>
                </a:cxn>
                <a:cxn ang="0">
                  <a:pos x="98" y="0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70" y="4"/>
                </a:cxn>
                <a:cxn ang="0">
                  <a:pos x="58" y="2"/>
                </a:cxn>
                <a:cxn ang="0">
                  <a:pos x="50" y="14"/>
                </a:cxn>
                <a:cxn ang="0">
                  <a:pos x="44" y="26"/>
                </a:cxn>
                <a:cxn ang="0">
                  <a:pos x="34" y="24"/>
                </a:cxn>
                <a:cxn ang="0">
                  <a:pos x="20" y="28"/>
                </a:cxn>
                <a:cxn ang="0">
                  <a:pos x="16" y="38"/>
                </a:cxn>
                <a:cxn ang="0">
                  <a:pos x="70" y="38"/>
                </a:cxn>
                <a:cxn ang="0">
                  <a:pos x="108" y="40"/>
                </a:cxn>
                <a:cxn ang="0">
                  <a:pos x="132" y="70"/>
                </a:cxn>
                <a:cxn ang="0">
                  <a:pos x="132" y="100"/>
                </a:cxn>
                <a:cxn ang="0">
                  <a:pos x="108" y="128"/>
                </a:cxn>
                <a:cxn ang="0">
                  <a:pos x="80" y="136"/>
                </a:cxn>
                <a:cxn ang="0">
                  <a:pos x="46" y="118"/>
                </a:cxn>
                <a:cxn ang="0">
                  <a:pos x="34" y="90"/>
                </a:cxn>
                <a:cxn ang="0">
                  <a:pos x="46" y="54"/>
                </a:cxn>
                <a:cxn ang="0">
                  <a:pos x="70" y="38"/>
                </a:cxn>
              </a:cxnLst>
              <a:rect l="0" t="0" r="r" b="b"/>
              <a:pathLst>
                <a:path w="170" h="170">
                  <a:moveTo>
                    <a:pt x="18" y="42"/>
                  </a:moveTo>
                  <a:lnTo>
                    <a:pt x="18" y="42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6" y="58"/>
                  </a:lnTo>
                  <a:lnTo>
                    <a:pt x="4" y="60"/>
                  </a:lnTo>
                  <a:lnTo>
                    <a:pt x="2" y="6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2" y="78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8" y="82"/>
                  </a:lnTo>
                  <a:lnTo>
                    <a:pt x="10" y="86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6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4" y="100"/>
                  </a:lnTo>
                  <a:lnTo>
                    <a:pt x="2" y="104"/>
                  </a:lnTo>
                  <a:lnTo>
                    <a:pt x="0" y="108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4" y="116"/>
                  </a:lnTo>
                  <a:lnTo>
                    <a:pt x="6" y="118"/>
                  </a:lnTo>
                  <a:lnTo>
                    <a:pt x="10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20" y="120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4" y="128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2" y="138"/>
                  </a:lnTo>
                  <a:lnTo>
                    <a:pt x="22" y="142"/>
                  </a:lnTo>
                  <a:lnTo>
                    <a:pt x="24" y="146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30" y="152"/>
                  </a:lnTo>
                  <a:lnTo>
                    <a:pt x="34" y="154"/>
                  </a:lnTo>
                  <a:lnTo>
                    <a:pt x="38" y="154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4" y="150"/>
                  </a:lnTo>
                  <a:lnTo>
                    <a:pt x="48" y="148"/>
                  </a:lnTo>
                  <a:lnTo>
                    <a:pt x="54" y="150"/>
                  </a:lnTo>
                  <a:lnTo>
                    <a:pt x="54" y="150"/>
                  </a:lnTo>
                  <a:lnTo>
                    <a:pt x="56" y="154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4"/>
                  </a:lnTo>
                  <a:lnTo>
                    <a:pt x="58" y="166"/>
                  </a:lnTo>
                  <a:lnTo>
                    <a:pt x="62" y="168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70" y="170"/>
                  </a:lnTo>
                  <a:lnTo>
                    <a:pt x="74" y="170"/>
                  </a:lnTo>
                  <a:lnTo>
                    <a:pt x="78" y="168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80" y="162"/>
                  </a:lnTo>
                  <a:lnTo>
                    <a:pt x="84" y="158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4" y="158"/>
                  </a:lnTo>
                  <a:lnTo>
                    <a:pt x="98" y="164"/>
                  </a:lnTo>
                  <a:lnTo>
                    <a:pt x="98" y="164"/>
                  </a:lnTo>
                  <a:lnTo>
                    <a:pt x="100" y="166"/>
                  </a:lnTo>
                  <a:lnTo>
                    <a:pt x="102" y="168"/>
                  </a:lnTo>
                  <a:lnTo>
                    <a:pt x="106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6" y="166"/>
                  </a:lnTo>
                  <a:lnTo>
                    <a:pt x="118" y="164"/>
                  </a:lnTo>
                  <a:lnTo>
                    <a:pt x="120" y="160"/>
                  </a:lnTo>
                  <a:lnTo>
                    <a:pt x="120" y="156"/>
                  </a:lnTo>
                  <a:lnTo>
                    <a:pt x="120" y="156"/>
                  </a:lnTo>
                  <a:lnTo>
                    <a:pt x="120" y="154"/>
                  </a:lnTo>
                  <a:lnTo>
                    <a:pt x="120" y="150"/>
                  </a:lnTo>
                  <a:lnTo>
                    <a:pt x="124" y="144"/>
                  </a:lnTo>
                  <a:lnTo>
                    <a:pt x="124" y="144"/>
                  </a:lnTo>
                  <a:lnTo>
                    <a:pt x="130" y="144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8" y="148"/>
                  </a:lnTo>
                  <a:lnTo>
                    <a:pt x="142" y="148"/>
                  </a:lnTo>
                  <a:lnTo>
                    <a:pt x="146" y="146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52" y="140"/>
                  </a:lnTo>
                  <a:lnTo>
                    <a:pt x="152" y="136"/>
                  </a:lnTo>
                  <a:lnTo>
                    <a:pt x="152" y="132"/>
                  </a:lnTo>
                  <a:lnTo>
                    <a:pt x="150" y="130"/>
                  </a:lnTo>
                  <a:lnTo>
                    <a:pt x="150" y="130"/>
                  </a:lnTo>
                  <a:lnTo>
                    <a:pt x="148" y="126"/>
                  </a:lnTo>
                  <a:lnTo>
                    <a:pt x="148" y="122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52" y="114"/>
                  </a:lnTo>
                  <a:lnTo>
                    <a:pt x="158" y="114"/>
                  </a:lnTo>
                  <a:lnTo>
                    <a:pt x="158" y="114"/>
                  </a:lnTo>
                  <a:lnTo>
                    <a:pt x="162" y="112"/>
                  </a:lnTo>
                  <a:lnTo>
                    <a:pt x="166" y="112"/>
                  </a:lnTo>
                  <a:lnTo>
                    <a:pt x="168" y="108"/>
                  </a:lnTo>
                  <a:lnTo>
                    <a:pt x="170" y="104"/>
                  </a:lnTo>
                  <a:lnTo>
                    <a:pt x="170" y="104"/>
                  </a:lnTo>
                  <a:lnTo>
                    <a:pt x="170" y="100"/>
                  </a:lnTo>
                  <a:lnTo>
                    <a:pt x="168" y="96"/>
                  </a:lnTo>
                  <a:lnTo>
                    <a:pt x="166" y="92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0" y="90"/>
                  </a:lnTo>
                  <a:lnTo>
                    <a:pt x="158" y="8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8" y="76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6" y="70"/>
                  </a:lnTo>
                  <a:lnTo>
                    <a:pt x="168" y="68"/>
                  </a:lnTo>
                  <a:lnTo>
                    <a:pt x="168" y="64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6" y="54"/>
                  </a:lnTo>
                  <a:lnTo>
                    <a:pt x="162" y="52"/>
                  </a:lnTo>
                  <a:lnTo>
                    <a:pt x="160" y="50"/>
                  </a:lnTo>
                  <a:lnTo>
                    <a:pt x="156" y="50"/>
                  </a:lnTo>
                  <a:lnTo>
                    <a:pt x="156" y="50"/>
                  </a:lnTo>
                  <a:lnTo>
                    <a:pt x="152" y="50"/>
                  </a:lnTo>
                  <a:lnTo>
                    <a:pt x="148" y="48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0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8" y="32"/>
                  </a:lnTo>
                  <a:lnTo>
                    <a:pt x="148" y="28"/>
                  </a:lnTo>
                  <a:lnTo>
                    <a:pt x="146" y="24"/>
                  </a:lnTo>
                  <a:lnTo>
                    <a:pt x="142" y="20"/>
                  </a:lnTo>
                  <a:lnTo>
                    <a:pt x="142" y="20"/>
                  </a:lnTo>
                  <a:lnTo>
                    <a:pt x="138" y="18"/>
                  </a:lnTo>
                  <a:lnTo>
                    <a:pt x="136" y="18"/>
                  </a:lnTo>
                  <a:lnTo>
                    <a:pt x="132" y="18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6" y="22"/>
                  </a:lnTo>
                  <a:lnTo>
                    <a:pt x="122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2" y="18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10" y="4"/>
                  </a:lnTo>
                  <a:lnTo>
                    <a:pt x="106" y="2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8" y="0"/>
                  </a:lnTo>
                  <a:lnTo>
                    <a:pt x="94" y="2"/>
                  </a:lnTo>
                  <a:lnTo>
                    <a:pt x="92" y="4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88" y="10"/>
                  </a:lnTo>
                  <a:lnTo>
                    <a:pt x="84" y="12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4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0" y="4"/>
                  </a:lnTo>
                  <a:lnTo>
                    <a:pt x="66" y="2"/>
                  </a:lnTo>
                  <a:lnTo>
                    <a:pt x="62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8"/>
                  </a:lnTo>
                  <a:lnTo>
                    <a:pt x="48" y="22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0" y="28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0" y="22"/>
                  </a:lnTo>
                  <a:lnTo>
                    <a:pt x="28" y="22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8" y="30"/>
                  </a:lnTo>
                  <a:lnTo>
                    <a:pt x="16" y="34"/>
                  </a:lnTo>
                  <a:lnTo>
                    <a:pt x="16" y="38"/>
                  </a:lnTo>
                  <a:lnTo>
                    <a:pt x="18" y="42"/>
                  </a:lnTo>
                  <a:lnTo>
                    <a:pt x="18" y="42"/>
                  </a:lnTo>
                  <a:close/>
                  <a:moveTo>
                    <a:pt x="70" y="38"/>
                  </a:moveTo>
                  <a:lnTo>
                    <a:pt x="70" y="38"/>
                  </a:lnTo>
                  <a:lnTo>
                    <a:pt x="78" y="36"/>
                  </a:lnTo>
                  <a:lnTo>
                    <a:pt x="88" y="36"/>
                  </a:lnTo>
                  <a:lnTo>
                    <a:pt x="98" y="38"/>
                  </a:lnTo>
                  <a:lnTo>
                    <a:pt x="108" y="40"/>
                  </a:lnTo>
                  <a:lnTo>
                    <a:pt x="116" y="46"/>
                  </a:lnTo>
                  <a:lnTo>
                    <a:pt x="122" y="52"/>
                  </a:lnTo>
                  <a:lnTo>
                    <a:pt x="128" y="60"/>
                  </a:lnTo>
                  <a:lnTo>
                    <a:pt x="132" y="70"/>
                  </a:lnTo>
                  <a:lnTo>
                    <a:pt x="132" y="70"/>
                  </a:lnTo>
                  <a:lnTo>
                    <a:pt x="134" y="80"/>
                  </a:lnTo>
                  <a:lnTo>
                    <a:pt x="134" y="90"/>
                  </a:lnTo>
                  <a:lnTo>
                    <a:pt x="132" y="100"/>
                  </a:lnTo>
                  <a:lnTo>
                    <a:pt x="128" y="108"/>
                  </a:lnTo>
                  <a:lnTo>
                    <a:pt x="124" y="116"/>
                  </a:lnTo>
                  <a:lnTo>
                    <a:pt x="116" y="124"/>
                  </a:lnTo>
                  <a:lnTo>
                    <a:pt x="108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0" y="134"/>
                  </a:lnTo>
                  <a:lnTo>
                    <a:pt x="80" y="136"/>
                  </a:lnTo>
                  <a:lnTo>
                    <a:pt x="70" y="134"/>
                  </a:lnTo>
                  <a:lnTo>
                    <a:pt x="62" y="130"/>
                  </a:lnTo>
                  <a:lnTo>
                    <a:pt x="54" y="124"/>
                  </a:lnTo>
                  <a:lnTo>
                    <a:pt x="46" y="118"/>
                  </a:lnTo>
                  <a:lnTo>
                    <a:pt x="40" y="11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4" y="90"/>
                  </a:lnTo>
                  <a:lnTo>
                    <a:pt x="34" y="80"/>
                  </a:lnTo>
                  <a:lnTo>
                    <a:pt x="36" y="72"/>
                  </a:lnTo>
                  <a:lnTo>
                    <a:pt x="40" y="62"/>
                  </a:lnTo>
                  <a:lnTo>
                    <a:pt x="46" y="54"/>
                  </a:lnTo>
                  <a:lnTo>
                    <a:pt x="52" y="48"/>
                  </a:lnTo>
                  <a:lnTo>
                    <a:pt x="60" y="42"/>
                  </a:lnTo>
                  <a:lnTo>
                    <a:pt x="70" y="38"/>
                  </a:lnTo>
                  <a:lnTo>
                    <a:pt x="70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1" name="Freeform 30">
            <a:extLst>
              <a:ext uri="{FF2B5EF4-FFF2-40B4-BE49-F238E27FC236}">
                <a16:creationId xmlns:a16="http://schemas.microsoft.com/office/drawing/2014/main" id="{028D9C6C-33A0-44BB-A621-9F8EE25C759A}"/>
              </a:ext>
            </a:extLst>
          </p:cNvPr>
          <p:cNvSpPr>
            <a:spLocks noEditPoints="1"/>
          </p:cNvSpPr>
          <p:nvPr/>
        </p:nvSpPr>
        <p:spPr bwMode="auto">
          <a:xfrm>
            <a:off x="936789" y="2565204"/>
            <a:ext cx="690524" cy="586438"/>
          </a:xfrm>
          <a:custGeom>
            <a:avLst/>
            <a:gdLst>
              <a:gd name="T0" fmla="*/ 773 w 1545"/>
              <a:gd name="T1" fmla="*/ 0 h 1545"/>
              <a:gd name="T2" fmla="*/ 0 w 1545"/>
              <a:gd name="T3" fmla="*/ 773 h 1545"/>
              <a:gd name="T4" fmla="*/ 773 w 1545"/>
              <a:gd name="T5" fmla="*/ 1545 h 1545"/>
              <a:gd name="T6" fmla="*/ 1545 w 1545"/>
              <a:gd name="T7" fmla="*/ 773 h 1545"/>
              <a:gd name="T8" fmla="*/ 773 w 1545"/>
              <a:gd name="T9" fmla="*/ 0 h 1545"/>
              <a:gd name="T10" fmla="*/ 1217 w 1545"/>
              <a:gd name="T11" fmla="*/ 1217 h 1545"/>
              <a:gd name="T12" fmla="*/ 845 w 1545"/>
              <a:gd name="T13" fmla="*/ 1397 h 1545"/>
              <a:gd name="T14" fmla="*/ 845 w 1545"/>
              <a:gd name="T15" fmla="*/ 1215 h 1545"/>
              <a:gd name="T16" fmla="*/ 701 w 1545"/>
              <a:gd name="T17" fmla="*/ 1215 h 1545"/>
              <a:gd name="T18" fmla="*/ 701 w 1545"/>
              <a:gd name="T19" fmla="*/ 1397 h 1545"/>
              <a:gd name="T20" fmla="*/ 328 w 1545"/>
              <a:gd name="T21" fmla="*/ 1217 h 1545"/>
              <a:gd name="T22" fmla="*/ 148 w 1545"/>
              <a:gd name="T23" fmla="*/ 845 h 1545"/>
              <a:gd name="T24" fmla="*/ 330 w 1545"/>
              <a:gd name="T25" fmla="*/ 845 h 1545"/>
              <a:gd name="T26" fmla="*/ 330 w 1545"/>
              <a:gd name="T27" fmla="*/ 701 h 1545"/>
              <a:gd name="T28" fmla="*/ 148 w 1545"/>
              <a:gd name="T29" fmla="*/ 701 h 1545"/>
              <a:gd name="T30" fmla="*/ 328 w 1545"/>
              <a:gd name="T31" fmla="*/ 328 h 1545"/>
              <a:gd name="T32" fmla="*/ 701 w 1545"/>
              <a:gd name="T33" fmla="*/ 149 h 1545"/>
              <a:gd name="T34" fmla="*/ 701 w 1545"/>
              <a:gd name="T35" fmla="*/ 330 h 1545"/>
              <a:gd name="T36" fmla="*/ 845 w 1545"/>
              <a:gd name="T37" fmla="*/ 330 h 1545"/>
              <a:gd name="T38" fmla="*/ 845 w 1545"/>
              <a:gd name="T39" fmla="*/ 149 h 1545"/>
              <a:gd name="T40" fmla="*/ 1217 w 1545"/>
              <a:gd name="T41" fmla="*/ 328 h 1545"/>
              <a:gd name="T42" fmla="*/ 1397 w 1545"/>
              <a:gd name="T43" fmla="*/ 701 h 1545"/>
              <a:gd name="T44" fmla="*/ 1215 w 1545"/>
              <a:gd name="T45" fmla="*/ 701 h 1545"/>
              <a:gd name="T46" fmla="*/ 1215 w 1545"/>
              <a:gd name="T47" fmla="*/ 845 h 1545"/>
              <a:gd name="T48" fmla="*/ 1397 w 1545"/>
              <a:gd name="T49" fmla="*/ 845 h 1545"/>
              <a:gd name="T50" fmla="*/ 1217 w 1545"/>
              <a:gd name="T51" fmla="*/ 1217 h 1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545" h="1545">
                <a:moveTo>
                  <a:pt x="773" y="0"/>
                </a:moveTo>
                <a:cubicBezTo>
                  <a:pt x="346" y="0"/>
                  <a:pt x="0" y="346"/>
                  <a:pt x="0" y="773"/>
                </a:cubicBezTo>
                <a:cubicBezTo>
                  <a:pt x="0" y="1199"/>
                  <a:pt x="346" y="1545"/>
                  <a:pt x="773" y="1545"/>
                </a:cubicBezTo>
                <a:cubicBezTo>
                  <a:pt x="1199" y="1545"/>
                  <a:pt x="1545" y="1199"/>
                  <a:pt x="1545" y="773"/>
                </a:cubicBezTo>
                <a:cubicBezTo>
                  <a:pt x="1545" y="346"/>
                  <a:pt x="1199" y="0"/>
                  <a:pt x="773" y="0"/>
                </a:cubicBezTo>
                <a:close/>
                <a:moveTo>
                  <a:pt x="1217" y="1217"/>
                </a:moveTo>
                <a:cubicBezTo>
                  <a:pt x="1115" y="1319"/>
                  <a:pt x="985" y="1381"/>
                  <a:pt x="845" y="1397"/>
                </a:cubicBezTo>
                <a:cubicBezTo>
                  <a:pt x="845" y="1215"/>
                  <a:pt x="845" y="1215"/>
                  <a:pt x="845" y="1215"/>
                </a:cubicBezTo>
                <a:cubicBezTo>
                  <a:pt x="701" y="1215"/>
                  <a:pt x="701" y="1215"/>
                  <a:pt x="701" y="1215"/>
                </a:cubicBezTo>
                <a:cubicBezTo>
                  <a:pt x="701" y="1397"/>
                  <a:pt x="701" y="1397"/>
                  <a:pt x="701" y="1397"/>
                </a:cubicBezTo>
                <a:cubicBezTo>
                  <a:pt x="560" y="1381"/>
                  <a:pt x="430" y="1319"/>
                  <a:pt x="328" y="1217"/>
                </a:cubicBezTo>
                <a:cubicBezTo>
                  <a:pt x="227" y="1115"/>
                  <a:pt x="164" y="985"/>
                  <a:pt x="148" y="845"/>
                </a:cubicBezTo>
                <a:cubicBezTo>
                  <a:pt x="330" y="845"/>
                  <a:pt x="330" y="845"/>
                  <a:pt x="330" y="845"/>
                </a:cubicBezTo>
                <a:cubicBezTo>
                  <a:pt x="330" y="701"/>
                  <a:pt x="330" y="701"/>
                  <a:pt x="330" y="701"/>
                </a:cubicBezTo>
                <a:cubicBezTo>
                  <a:pt x="148" y="701"/>
                  <a:pt x="148" y="701"/>
                  <a:pt x="148" y="701"/>
                </a:cubicBezTo>
                <a:cubicBezTo>
                  <a:pt x="164" y="560"/>
                  <a:pt x="227" y="430"/>
                  <a:pt x="328" y="328"/>
                </a:cubicBezTo>
                <a:cubicBezTo>
                  <a:pt x="430" y="227"/>
                  <a:pt x="560" y="164"/>
                  <a:pt x="701" y="149"/>
                </a:cubicBezTo>
                <a:cubicBezTo>
                  <a:pt x="701" y="330"/>
                  <a:pt x="701" y="330"/>
                  <a:pt x="701" y="330"/>
                </a:cubicBezTo>
                <a:cubicBezTo>
                  <a:pt x="845" y="330"/>
                  <a:pt x="845" y="330"/>
                  <a:pt x="845" y="330"/>
                </a:cubicBezTo>
                <a:cubicBezTo>
                  <a:pt x="845" y="149"/>
                  <a:pt x="845" y="149"/>
                  <a:pt x="845" y="149"/>
                </a:cubicBezTo>
                <a:cubicBezTo>
                  <a:pt x="985" y="164"/>
                  <a:pt x="1115" y="227"/>
                  <a:pt x="1217" y="328"/>
                </a:cubicBezTo>
                <a:cubicBezTo>
                  <a:pt x="1318" y="430"/>
                  <a:pt x="1381" y="560"/>
                  <a:pt x="1397" y="701"/>
                </a:cubicBezTo>
                <a:cubicBezTo>
                  <a:pt x="1215" y="701"/>
                  <a:pt x="1215" y="701"/>
                  <a:pt x="1215" y="701"/>
                </a:cubicBezTo>
                <a:cubicBezTo>
                  <a:pt x="1215" y="845"/>
                  <a:pt x="1215" y="845"/>
                  <a:pt x="1215" y="845"/>
                </a:cubicBezTo>
                <a:cubicBezTo>
                  <a:pt x="1397" y="845"/>
                  <a:pt x="1397" y="845"/>
                  <a:pt x="1397" y="845"/>
                </a:cubicBezTo>
                <a:cubicBezTo>
                  <a:pt x="1381" y="985"/>
                  <a:pt x="1318" y="1115"/>
                  <a:pt x="1217" y="1217"/>
                </a:cubicBezTo>
                <a:close/>
              </a:path>
            </a:pathLst>
          </a:custGeom>
          <a:solidFill>
            <a:srgbClr val="281051">
              <a:lumMod val="25000"/>
              <a:lumOff val="7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Freeform 17">
            <a:extLst>
              <a:ext uri="{FF2B5EF4-FFF2-40B4-BE49-F238E27FC236}">
                <a16:creationId xmlns:a16="http://schemas.microsoft.com/office/drawing/2014/main" id="{A66DDDD8-CB88-445C-8344-12B26EE1EB5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00292" y="3605646"/>
            <a:ext cx="554745" cy="658135"/>
          </a:xfrm>
          <a:custGeom>
            <a:avLst/>
            <a:gdLst/>
            <a:ahLst/>
            <a:cxnLst>
              <a:cxn ang="0">
                <a:pos x="1" y="132"/>
              </a:cxn>
              <a:cxn ang="0">
                <a:pos x="7" y="95"/>
              </a:cxn>
              <a:cxn ang="0">
                <a:pos x="33" y="76"/>
              </a:cxn>
              <a:cxn ang="0">
                <a:pos x="37" y="76"/>
              </a:cxn>
              <a:cxn ang="0">
                <a:pos x="65" y="81"/>
              </a:cxn>
              <a:cxn ang="0">
                <a:pos x="63" y="86"/>
              </a:cxn>
              <a:cxn ang="0">
                <a:pos x="55" y="132"/>
              </a:cxn>
              <a:cxn ang="0">
                <a:pos x="55" y="183"/>
              </a:cxn>
              <a:cxn ang="0">
                <a:pos x="79" y="202"/>
              </a:cxn>
              <a:cxn ang="0">
                <a:pos x="80" y="278"/>
              </a:cxn>
              <a:cxn ang="0">
                <a:pos x="55" y="275"/>
              </a:cxn>
              <a:cxn ang="0">
                <a:pos x="23" y="266"/>
              </a:cxn>
              <a:cxn ang="0">
                <a:pos x="22" y="182"/>
              </a:cxn>
              <a:cxn ang="0">
                <a:pos x="1" y="177"/>
              </a:cxn>
              <a:cxn ang="0">
                <a:pos x="1" y="132"/>
              </a:cxn>
              <a:cxn ang="0">
                <a:pos x="79" y="39"/>
              </a:cxn>
              <a:cxn ang="0">
                <a:pos x="55" y="16"/>
              </a:cxn>
              <a:cxn ang="0">
                <a:pos x="30" y="39"/>
              </a:cxn>
              <a:cxn ang="0">
                <a:pos x="79" y="39"/>
              </a:cxn>
              <a:cxn ang="0">
                <a:pos x="185" y="81"/>
              </a:cxn>
              <a:cxn ang="0">
                <a:pos x="214" y="76"/>
              </a:cxn>
              <a:cxn ang="0">
                <a:pos x="218" y="76"/>
              </a:cxn>
              <a:cxn ang="0">
                <a:pos x="244" y="95"/>
              </a:cxn>
              <a:cxn ang="0">
                <a:pos x="250" y="132"/>
              </a:cxn>
              <a:cxn ang="0">
                <a:pos x="250" y="177"/>
              </a:cxn>
              <a:cxn ang="0">
                <a:pos x="229" y="182"/>
              </a:cxn>
              <a:cxn ang="0">
                <a:pos x="227" y="266"/>
              </a:cxn>
              <a:cxn ang="0">
                <a:pos x="196" y="275"/>
              </a:cxn>
              <a:cxn ang="0">
                <a:pos x="170" y="278"/>
              </a:cxn>
              <a:cxn ang="0">
                <a:pos x="172" y="202"/>
              </a:cxn>
              <a:cxn ang="0">
                <a:pos x="196" y="183"/>
              </a:cxn>
              <a:cxn ang="0">
                <a:pos x="196" y="132"/>
              </a:cxn>
              <a:cxn ang="0">
                <a:pos x="188" y="86"/>
              </a:cxn>
              <a:cxn ang="0">
                <a:pos x="185" y="81"/>
              </a:cxn>
              <a:cxn ang="0">
                <a:pos x="220" y="39"/>
              </a:cxn>
              <a:cxn ang="0">
                <a:pos x="196" y="16"/>
              </a:cxn>
              <a:cxn ang="0">
                <a:pos x="172" y="39"/>
              </a:cxn>
              <a:cxn ang="0">
                <a:pos x="220" y="39"/>
              </a:cxn>
              <a:cxn ang="0">
                <a:pos x="64" y="132"/>
              </a:cxn>
              <a:cxn ang="0">
                <a:pos x="71" y="90"/>
              </a:cxn>
              <a:cxn ang="0">
                <a:pos x="100" y="69"/>
              </a:cxn>
              <a:cxn ang="0">
                <a:pos x="105" y="69"/>
              </a:cxn>
              <a:cxn ang="0">
                <a:pos x="146" y="69"/>
              </a:cxn>
              <a:cxn ang="0">
                <a:pos x="150" y="69"/>
              </a:cxn>
              <a:cxn ang="0">
                <a:pos x="180" y="90"/>
              </a:cxn>
              <a:cxn ang="0">
                <a:pos x="187" y="132"/>
              </a:cxn>
              <a:cxn ang="0">
                <a:pos x="187" y="183"/>
              </a:cxn>
              <a:cxn ang="0">
                <a:pos x="163" y="189"/>
              </a:cxn>
              <a:cxn ang="0">
                <a:pos x="161" y="285"/>
              </a:cxn>
              <a:cxn ang="0">
                <a:pos x="125" y="295"/>
              </a:cxn>
              <a:cxn ang="0">
                <a:pos x="89" y="285"/>
              </a:cxn>
              <a:cxn ang="0">
                <a:pos x="88" y="189"/>
              </a:cxn>
              <a:cxn ang="0">
                <a:pos x="64" y="183"/>
              </a:cxn>
              <a:cxn ang="0">
                <a:pos x="64" y="132"/>
              </a:cxn>
              <a:cxn ang="0">
                <a:pos x="153" y="27"/>
              </a:cxn>
              <a:cxn ang="0">
                <a:pos x="125" y="0"/>
              </a:cxn>
              <a:cxn ang="0">
                <a:pos x="98" y="27"/>
              </a:cxn>
              <a:cxn ang="0">
                <a:pos x="153" y="27"/>
              </a:cxn>
            </a:cxnLst>
            <a:rect l="0" t="0" r="r" b="b"/>
            <a:pathLst>
              <a:path w="251" h="308">
                <a:moveTo>
                  <a:pt x="1" y="132"/>
                </a:moveTo>
                <a:cubicBezTo>
                  <a:pt x="1" y="119"/>
                  <a:pt x="1" y="105"/>
                  <a:pt x="7" y="95"/>
                </a:cubicBezTo>
                <a:cubicBezTo>
                  <a:pt x="12" y="85"/>
                  <a:pt x="21" y="76"/>
                  <a:pt x="33" y="76"/>
                </a:cubicBezTo>
                <a:cubicBezTo>
                  <a:pt x="37" y="76"/>
                  <a:pt x="37" y="76"/>
                  <a:pt x="37" y="76"/>
                </a:cubicBezTo>
                <a:cubicBezTo>
                  <a:pt x="44" y="84"/>
                  <a:pt x="56" y="86"/>
                  <a:pt x="65" y="81"/>
                </a:cubicBezTo>
                <a:cubicBezTo>
                  <a:pt x="65" y="83"/>
                  <a:pt x="64" y="84"/>
                  <a:pt x="63" y="86"/>
                </a:cubicBezTo>
                <a:cubicBezTo>
                  <a:pt x="56" y="100"/>
                  <a:pt x="55" y="117"/>
                  <a:pt x="55" y="132"/>
                </a:cubicBezTo>
                <a:cubicBezTo>
                  <a:pt x="55" y="149"/>
                  <a:pt x="56" y="166"/>
                  <a:pt x="55" y="183"/>
                </a:cubicBezTo>
                <a:cubicBezTo>
                  <a:pt x="54" y="195"/>
                  <a:pt x="67" y="202"/>
                  <a:pt x="79" y="202"/>
                </a:cubicBezTo>
                <a:cubicBezTo>
                  <a:pt x="80" y="278"/>
                  <a:pt x="80" y="278"/>
                  <a:pt x="80" y="278"/>
                </a:cubicBezTo>
                <a:cubicBezTo>
                  <a:pt x="73" y="283"/>
                  <a:pt x="61" y="283"/>
                  <a:pt x="55" y="275"/>
                </a:cubicBezTo>
                <a:cubicBezTo>
                  <a:pt x="45" y="286"/>
                  <a:pt x="23" y="282"/>
                  <a:pt x="23" y="266"/>
                </a:cubicBezTo>
                <a:cubicBezTo>
                  <a:pt x="22" y="182"/>
                  <a:pt x="22" y="182"/>
                  <a:pt x="22" y="182"/>
                </a:cubicBezTo>
                <a:cubicBezTo>
                  <a:pt x="17" y="187"/>
                  <a:pt x="0" y="185"/>
                  <a:pt x="1" y="177"/>
                </a:cubicBezTo>
                <a:cubicBezTo>
                  <a:pt x="1" y="158"/>
                  <a:pt x="1" y="150"/>
                  <a:pt x="1" y="132"/>
                </a:cubicBezTo>
                <a:close/>
                <a:moveTo>
                  <a:pt x="79" y="39"/>
                </a:moveTo>
                <a:cubicBezTo>
                  <a:pt x="78" y="26"/>
                  <a:pt x="69" y="16"/>
                  <a:pt x="55" y="16"/>
                </a:cubicBezTo>
                <a:cubicBezTo>
                  <a:pt x="39" y="16"/>
                  <a:pt x="31" y="26"/>
                  <a:pt x="30" y="39"/>
                </a:cubicBezTo>
                <a:cubicBezTo>
                  <a:pt x="30" y="90"/>
                  <a:pt x="79" y="89"/>
                  <a:pt x="79" y="39"/>
                </a:cubicBezTo>
                <a:close/>
                <a:moveTo>
                  <a:pt x="185" y="81"/>
                </a:moveTo>
                <a:cubicBezTo>
                  <a:pt x="195" y="86"/>
                  <a:pt x="206" y="84"/>
                  <a:pt x="214" y="76"/>
                </a:cubicBezTo>
                <a:cubicBezTo>
                  <a:pt x="218" y="76"/>
                  <a:pt x="218" y="76"/>
                  <a:pt x="218" y="76"/>
                </a:cubicBezTo>
                <a:cubicBezTo>
                  <a:pt x="229" y="76"/>
                  <a:pt x="239" y="85"/>
                  <a:pt x="244" y="95"/>
                </a:cubicBezTo>
                <a:cubicBezTo>
                  <a:pt x="249" y="105"/>
                  <a:pt x="250" y="119"/>
                  <a:pt x="250" y="132"/>
                </a:cubicBezTo>
                <a:cubicBezTo>
                  <a:pt x="250" y="150"/>
                  <a:pt x="250" y="158"/>
                  <a:pt x="250" y="177"/>
                </a:cubicBezTo>
                <a:cubicBezTo>
                  <a:pt x="251" y="185"/>
                  <a:pt x="233" y="187"/>
                  <a:pt x="229" y="182"/>
                </a:cubicBezTo>
                <a:cubicBezTo>
                  <a:pt x="227" y="266"/>
                  <a:pt x="227" y="266"/>
                  <a:pt x="227" y="266"/>
                </a:cubicBezTo>
                <a:cubicBezTo>
                  <a:pt x="227" y="282"/>
                  <a:pt x="205" y="286"/>
                  <a:pt x="196" y="275"/>
                </a:cubicBezTo>
                <a:cubicBezTo>
                  <a:pt x="190" y="283"/>
                  <a:pt x="177" y="283"/>
                  <a:pt x="170" y="278"/>
                </a:cubicBezTo>
                <a:cubicBezTo>
                  <a:pt x="172" y="202"/>
                  <a:pt x="172" y="202"/>
                  <a:pt x="172" y="202"/>
                </a:cubicBezTo>
                <a:cubicBezTo>
                  <a:pt x="183" y="202"/>
                  <a:pt x="196" y="195"/>
                  <a:pt x="196" y="183"/>
                </a:cubicBezTo>
                <a:cubicBezTo>
                  <a:pt x="195" y="166"/>
                  <a:pt x="196" y="149"/>
                  <a:pt x="196" y="132"/>
                </a:cubicBezTo>
                <a:cubicBezTo>
                  <a:pt x="196" y="117"/>
                  <a:pt x="195" y="100"/>
                  <a:pt x="188" y="86"/>
                </a:cubicBezTo>
                <a:cubicBezTo>
                  <a:pt x="187" y="84"/>
                  <a:pt x="186" y="83"/>
                  <a:pt x="185" y="81"/>
                </a:cubicBezTo>
                <a:close/>
                <a:moveTo>
                  <a:pt x="220" y="39"/>
                </a:moveTo>
                <a:cubicBezTo>
                  <a:pt x="220" y="26"/>
                  <a:pt x="210" y="16"/>
                  <a:pt x="196" y="16"/>
                </a:cubicBezTo>
                <a:cubicBezTo>
                  <a:pt x="181" y="16"/>
                  <a:pt x="172" y="26"/>
                  <a:pt x="172" y="39"/>
                </a:cubicBezTo>
                <a:cubicBezTo>
                  <a:pt x="172" y="90"/>
                  <a:pt x="220" y="89"/>
                  <a:pt x="220" y="39"/>
                </a:cubicBezTo>
                <a:close/>
                <a:moveTo>
                  <a:pt x="64" y="132"/>
                </a:moveTo>
                <a:cubicBezTo>
                  <a:pt x="64" y="118"/>
                  <a:pt x="65" y="102"/>
                  <a:pt x="71" y="90"/>
                </a:cubicBezTo>
                <a:cubicBezTo>
                  <a:pt x="77" y="79"/>
                  <a:pt x="88" y="69"/>
                  <a:pt x="100" y="69"/>
                </a:cubicBezTo>
                <a:cubicBezTo>
                  <a:pt x="105" y="69"/>
                  <a:pt x="105" y="69"/>
                  <a:pt x="105" y="69"/>
                </a:cubicBezTo>
                <a:cubicBezTo>
                  <a:pt x="117" y="80"/>
                  <a:pt x="134" y="80"/>
                  <a:pt x="146" y="69"/>
                </a:cubicBezTo>
                <a:cubicBezTo>
                  <a:pt x="150" y="69"/>
                  <a:pt x="150" y="69"/>
                  <a:pt x="150" y="69"/>
                </a:cubicBezTo>
                <a:cubicBezTo>
                  <a:pt x="163" y="69"/>
                  <a:pt x="174" y="79"/>
                  <a:pt x="180" y="90"/>
                </a:cubicBezTo>
                <a:cubicBezTo>
                  <a:pt x="186" y="102"/>
                  <a:pt x="187" y="118"/>
                  <a:pt x="187" y="132"/>
                </a:cubicBezTo>
                <a:cubicBezTo>
                  <a:pt x="187" y="153"/>
                  <a:pt x="187" y="162"/>
                  <a:pt x="187" y="183"/>
                </a:cubicBezTo>
                <a:cubicBezTo>
                  <a:pt x="187" y="193"/>
                  <a:pt x="168" y="196"/>
                  <a:pt x="163" y="189"/>
                </a:cubicBezTo>
                <a:cubicBezTo>
                  <a:pt x="161" y="285"/>
                  <a:pt x="161" y="285"/>
                  <a:pt x="161" y="285"/>
                </a:cubicBezTo>
                <a:cubicBezTo>
                  <a:pt x="161" y="304"/>
                  <a:pt x="136" y="308"/>
                  <a:pt x="125" y="295"/>
                </a:cubicBezTo>
                <a:cubicBezTo>
                  <a:pt x="115" y="308"/>
                  <a:pt x="89" y="304"/>
                  <a:pt x="89" y="285"/>
                </a:cubicBezTo>
                <a:cubicBezTo>
                  <a:pt x="88" y="189"/>
                  <a:pt x="88" y="189"/>
                  <a:pt x="88" y="189"/>
                </a:cubicBezTo>
                <a:cubicBezTo>
                  <a:pt x="83" y="196"/>
                  <a:pt x="63" y="193"/>
                  <a:pt x="64" y="183"/>
                </a:cubicBezTo>
                <a:cubicBezTo>
                  <a:pt x="64" y="162"/>
                  <a:pt x="64" y="153"/>
                  <a:pt x="64" y="132"/>
                </a:cubicBezTo>
                <a:close/>
                <a:moveTo>
                  <a:pt x="153" y="27"/>
                </a:moveTo>
                <a:cubicBezTo>
                  <a:pt x="153" y="12"/>
                  <a:pt x="142" y="0"/>
                  <a:pt x="125" y="0"/>
                </a:cubicBezTo>
                <a:cubicBezTo>
                  <a:pt x="108" y="0"/>
                  <a:pt x="98" y="12"/>
                  <a:pt x="98" y="27"/>
                </a:cubicBezTo>
                <a:cubicBezTo>
                  <a:pt x="98" y="84"/>
                  <a:pt x="153" y="83"/>
                  <a:pt x="153" y="27"/>
                </a:cubicBezTo>
                <a:close/>
              </a:path>
            </a:pathLst>
          </a:custGeom>
          <a:solidFill>
            <a:srgbClr val="ED673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Group 205">
            <a:extLst>
              <a:ext uri="{FF2B5EF4-FFF2-40B4-BE49-F238E27FC236}">
                <a16:creationId xmlns:a16="http://schemas.microsoft.com/office/drawing/2014/main" id="{70393CFB-8132-4C53-8F1D-17CA71403183}"/>
              </a:ext>
            </a:extLst>
          </p:cNvPr>
          <p:cNvGrpSpPr>
            <a:grpSpLocks noChangeAspect="1"/>
          </p:cNvGrpSpPr>
          <p:nvPr/>
        </p:nvGrpSpPr>
        <p:grpSpPr>
          <a:xfrm>
            <a:off x="997276" y="4658336"/>
            <a:ext cx="654877" cy="716643"/>
            <a:chOff x="2679700" y="2424113"/>
            <a:chExt cx="846138" cy="960684"/>
          </a:xfrm>
          <a:solidFill>
            <a:srgbClr val="FBB040"/>
          </a:solidFill>
        </p:grpSpPr>
        <p:sp>
          <p:nvSpPr>
            <p:cNvPr id="34" name="Freeform 51">
              <a:extLst>
                <a:ext uri="{FF2B5EF4-FFF2-40B4-BE49-F238E27FC236}">
                  <a16:creationId xmlns:a16="http://schemas.microsoft.com/office/drawing/2014/main" id="{D85C2A0A-2A67-4CA9-A577-4CC746F75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2730500"/>
              <a:ext cx="9525" cy="7937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5" y="4"/>
                </a:cxn>
                <a:cxn ang="0">
                  <a:pos x="0" y="0"/>
                </a:cxn>
                <a:cxn ang="0">
                  <a:pos x="5" y="3"/>
                </a:cxn>
              </a:cxnLst>
              <a:rect l="0" t="0" r="r" b="b"/>
              <a:pathLst>
                <a:path w="5" h="4">
                  <a:moveTo>
                    <a:pt x="5" y="3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3" y="3"/>
                    <a:pt x="2" y="1"/>
                    <a:pt x="0" y="0"/>
                  </a:cubicBezTo>
                  <a:lnTo>
                    <a:pt x="5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52">
              <a:extLst>
                <a:ext uri="{FF2B5EF4-FFF2-40B4-BE49-F238E27FC236}">
                  <a16:creationId xmlns:a16="http://schemas.microsoft.com/office/drawing/2014/main" id="{64B4F3DB-ACCF-448A-B224-EB40D8B8F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988" y="2732088"/>
              <a:ext cx="11113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"/>
                </a:cxn>
                <a:cxn ang="0">
                  <a:pos x="6" y="3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cubicBezTo>
                    <a:pt x="2" y="1"/>
                    <a:pt x="4" y="2"/>
                    <a:pt x="6" y="2"/>
                  </a:cubicBezTo>
                  <a:cubicBezTo>
                    <a:pt x="6" y="3"/>
                    <a:pt x="6" y="3"/>
                    <a:pt x="6" y="3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53">
              <a:extLst>
                <a:ext uri="{FF2B5EF4-FFF2-40B4-BE49-F238E27FC236}">
                  <a16:creationId xmlns:a16="http://schemas.microsoft.com/office/drawing/2014/main" id="{46D125AE-ED9F-4754-846E-94296AE12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9700" y="2424113"/>
              <a:ext cx="496888" cy="442912"/>
            </a:xfrm>
            <a:custGeom>
              <a:avLst/>
              <a:gdLst/>
              <a:ahLst/>
              <a:cxnLst>
                <a:cxn ang="0">
                  <a:pos x="235" y="178"/>
                </a:cxn>
                <a:cxn ang="0">
                  <a:pos x="175" y="231"/>
                </a:cxn>
                <a:cxn ang="0">
                  <a:pos x="169" y="230"/>
                </a:cxn>
                <a:cxn ang="0">
                  <a:pos x="15" y="142"/>
                </a:cxn>
                <a:cxn ang="0">
                  <a:pos x="12" y="140"/>
                </a:cxn>
                <a:cxn ang="0">
                  <a:pos x="26" y="58"/>
                </a:cxn>
                <a:cxn ang="0">
                  <a:pos x="89" y="5"/>
                </a:cxn>
                <a:cxn ang="0">
                  <a:pos x="92" y="6"/>
                </a:cxn>
                <a:cxn ang="0">
                  <a:pos x="246" y="94"/>
                </a:cxn>
                <a:cxn ang="0">
                  <a:pos x="251" y="98"/>
                </a:cxn>
                <a:cxn ang="0">
                  <a:pos x="235" y="178"/>
                </a:cxn>
              </a:cxnLst>
              <a:rect l="0" t="0" r="r" b="b"/>
              <a:pathLst>
                <a:path w="260" h="232">
                  <a:moveTo>
                    <a:pt x="235" y="178"/>
                  </a:moveTo>
                  <a:cubicBezTo>
                    <a:pt x="217" y="210"/>
                    <a:pt x="191" y="232"/>
                    <a:pt x="175" y="231"/>
                  </a:cubicBezTo>
                  <a:cubicBezTo>
                    <a:pt x="173" y="231"/>
                    <a:pt x="171" y="231"/>
                    <a:pt x="169" y="230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4" y="141"/>
                    <a:pt x="13" y="141"/>
                    <a:pt x="12" y="140"/>
                  </a:cubicBezTo>
                  <a:cubicBezTo>
                    <a:pt x="0" y="128"/>
                    <a:pt x="6" y="93"/>
                    <a:pt x="26" y="58"/>
                  </a:cubicBezTo>
                  <a:cubicBezTo>
                    <a:pt x="45" y="23"/>
                    <a:pt x="73" y="0"/>
                    <a:pt x="89" y="5"/>
                  </a:cubicBezTo>
                  <a:cubicBezTo>
                    <a:pt x="90" y="5"/>
                    <a:pt x="91" y="5"/>
                    <a:pt x="92" y="6"/>
                  </a:cubicBezTo>
                  <a:cubicBezTo>
                    <a:pt x="246" y="94"/>
                    <a:pt x="246" y="94"/>
                    <a:pt x="246" y="94"/>
                  </a:cubicBezTo>
                  <a:cubicBezTo>
                    <a:pt x="248" y="95"/>
                    <a:pt x="250" y="96"/>
                    <a:pt x="251" y="98"/>
                  </a:cubicBezTo>
                  <a:cubicBezTo>
                    <a:pt x="260" y="112"/>
                    <a:pt x="254" y="145"/>
                    <a:pt x="235" y="17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54">
              <a:extLst>
                <a:ext uri="{FF2B5EF4-FFF2-40B4-BE49-F238E27FC236}">
                  <a16:creationId xmlns:a16="http://schemas.microsoft.com/office/drawing/2014/main" id="{F2C1F91D-D522-44BD-89E6-E87C8263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9738" y="2647950"/>
              <a:ext cx="368300" cy="301625"/>
            </a:xfrm>
            <a:custGeom>
              <a:avLst/>
              <a:gdLst/>
              <a:ahLst/>
              <a:cxnLst>
                <a:cxn ang="0">
                  <a:pos x="42" y="113"/>
                </a:cxn>
                <a:cxn ang="0">
                  <a:pos x="94" y="69"/>
                </a:cxn>
                <a:cxn ang="0">
                  <a:pos x="106" y="1"/>
                </a:cxn>
                <a:cxn ang="0">
                  <a:pos x="105" y="0"/>
                </a:cxn>
                <a:cxn ang="0">
                  <a:pos x="106" y="0"/>
                </a:cxn>
                <a:cxn ang="0">
                  <a:pos x="179" y="42"/>
                </a:cxn>
                <a:cxn ang="0">
                  <a:pos x="176" y="115"/>
                </a:cxn>
                <a:cxn ang="0">
                  <a:pos x="115" y="155"/>
                </a:cxn>
                <a:cxn ang="0">
                  <a:pos x="0" y="90"/>
                </a:cxn>
                <a:cxn ang="0">
                  <a:pos x="40" y="113"/>
                </a:cxn>
                <a:cxn ang="0">
                  <a:pos x="42" y="113"/>
                </a:cxn>
              </a:cxnLst>
              <a:rect l="0" t="0" r="r" b="b"/>
              <a:pathLst>
                <a:path w="193" h="158">
                  <a:moveTo>
                    <a:pt x="42" y="113"/>
                  </a:moveTo>
                  <a:cubicBezTo>
                    <a:pt x="55" y="117"/>
                    <a:pt x="78" y="98"/>
                    <a:pt x="94" y="69"/>
                  </a:cubicBezTo>
                  <a:cubicBezTo>
                    <a:pt x="111" y="39"/>
                    <a:pt x="115" y="10"/>
                    <a:pt x="106" y="1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106" y="0"/>
                    <a:pt x="106" y="0"/>
                  </a:cubicBezTo>
                  <a:cubicBezTo>
                    <a:pt x="106" y="0"/>
                    <a:pt x="179" y="42"/>
                    <a:pt x="179" y="42"/>
                  </a:cubicBezTo>
                  <a:cubicBezTo>
                    <a:pt x="189" y="52"/>
                    <a:pt x="193" y="86"/>
                    <a:pt x="176" y="115"/>
                  </a:cubicBezTo>
                  <a:cubicBezTo>
                    <a:pt x="159" y="144"/>
                    <a:pt x="129" y="158"/>
                    <a:pt x="115" y="155"/>
                  </a:cubicBezTo>
                  <a:cubicBezTo>
                    <a:pt x="114" y="155"/>
                    <a:pt x="0" y="90"/>
                    <a:pt x="0" y="90"/>
                  </a:cubicBezTo>
                  <a:cubicBezTo>
                    <a:pt x="0" y="90"/>
                    <a:pt x="41" y="113"/>
                    <a:pt x="40" y="113"/>
                  </a:cubicBezTo>
                  <a:cubicBezTo>
                    <a:pt x="41" y="113"/>
                    <a:pt x="41" y="113"/>
                    <a:pt x="42" y="1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55">
              <a:extLst>
                <a:ext uri="{FF2B5EF4-FFF2-40B4-BE49-F238E27FC236}">
                  <a16:creationId xmlns:a16="http://schemas.microsoft.com/office/drawing/2014/main" id="{90DE8B01-3450-40E9-8A04-9BA4BE5A7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0" y="2792413"/>
              <a:ext cx="261938" cy="227012"/>
            </a:xfrm>
            <a:custGeom>
              <a:avLst/>
              <a:gdLst/>
              <a:ahLst/>
              <a:cxnLst>
                <a:cxn ang="0">
                  <a:pos x="129" y="98"/>
                </a:cxn>
                <a:cxn ang="0">
                  <a:pos x="98" y="113"/>
                </a:cxn>
                <a:cxn ang="0">
                  <a:pos x="81" y="104"/>
                </a:cxn>
                <a:cxn ang="0">
                  <a:pos x="77" y="100"/>
                </a:cxn>
                <a:cxn ang="0">
                  <a:pos x="54" y="107"/>
                </a:cxn>
                <a:cxn ang="0">
                  <a:pos x="0" y="76"/>
                </a:cxn>
                <a:cxn ang="0">
                  <a:pos x="3" y="78"/>
                </a:cxn>
                <a:cxn ang="0">
                  <a:pos x="3" y="78"/>
                </a:cxn>
                <a:cxn ang="0">
                  <a:pos x="40" y="47"/>
                </a:cxn>
                <a:cxn ang="0">
                  <a:pos x="48" y="0"/>
                </a:cxn>
                <a:cxn ang="0">
                  <a:pos x="47" y="0"/>
                </a:cxn>
                <a:cxn ang="0">
                  <a:pos x="48" y="0"/>
                </a:cxn>
                <a:cxn ang="0">
                  <a:pos x="99" y="29"/>
                </a:cxn>
                <a:cxn ang="0">
                  <a:pos x="104" y="53"/>
                </a:cxn>
                <a:cxn ang="0">
                  <a:pos x="109" y="54"/>
                </a:cxn>
                <a:cxn ang="0">
                  <a:pos x="126" y="64"/>
                </a:cxn>
                <a:cxn ang="0">
                  <a:pos x="129" y="98"/>
                </a:cxn>
              </a:cxnLst>
              <a:rect l="0" t="0" r="r" b="b"/>
              <a:pathLst>
                <a:path w="137" h="119">
                  <a:moveTo>
                    <a:pt x="129" y="98"/>
                  </a:moveTo>
                  <a:cubicBezTo>
                    <a:pt x="122" y="112"/>
                    <a:pt x="107" y="119"/>
                    <a:pt x="98" y="113"/>
                  </a:cubicBezTo>
                  <a:cubicBezTo>
                    <a:pt x="81" y="104"/>
                    <a:pt x="81" y="104"/>
                    <a:pt x="81" y="104"/>
                  </a:cubicBezTo>
                  <a:cubicBezTo>
                    <a:pt x="80" y="103"/>
                    <a:pt x="78" y="102"/>
                    <a:pt x="77" y="100"/>
                  </a:cubicBezTo>
                  <a:cubicBezTo>
                    <a:pt x="68" y="106"/>
                    <a:pt x="59" y="108"/>
                    <a:pt x="54" y="107"/>
                  </a:cubicBezTo>
                  <a:cubicBezTo>
                    <a:pt x="54" y="107"/>
                    <a:pt x="23" y="90"/>
                    <a:pt x="0" y="76"/>
                  </a:cubicBezTo>
                  <a:cubicBezTo>
                    <a:pt x="2" y="77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13" y="81"/>
                    <a:pt x="28" y="68"/>
                    <a:pt x="40" y="47"/>
                  </a:cubicBezTo>
                  <a:cubicBezTo>
                    <a:pt x="51" y="27"/>
                    <a:pt x="54" y="7"/>
                    <a:pt x="4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8" y="0"/>
                    <a:pt x="48" y="0"/>
                  </a:cubicBezTo>
                  <a:cubicBezTo>
                    <a:pt x="48" y="0"/>
                    <a:pt x="98" y="29"/>
                    <a:pt x="99" y="29"/>
                  </a:cubicBezTo>
                  <a:cubicBezTo>
                    <a:pt x="102" y="33"/>
                    <a:pt x="105" y="42"/>
                    <a:pt x="104" y="53"/>
                  </a:cubicBezTo>
                  <a:cubicBezTo>
                    <a:pt x="106" y="53"/>
                    <a:pt x="108" y="53"/>
                    <a:pt x="109" y="54"/>
                  </a:cubicBezTo>
                  <a:cubicBezTo>
                    <a:pt x="126" y="64"/>
                    <a:pt x="126" y="64"/>
                    <a:pt x="126" y="64"/>
                  </a:cubicBezTo>
                  <a:cubicBezTo>
                    <a:pt x="136" y="69"/>
                    <a:pt x="137" y="85"/>
                    <a:pt x="129" y="9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56">
              <a:extLst>
                <a:ext uri="{FF2B5EF4-FFF2-40B4-BE49-F238E27FC236}">
                  <a16:creationId xmlns:a16="http://schemas.microsoft.com/office/drawing/2014/main" id="{651E9484-5935-45D1-8240-4172F5AF9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5100" y="2447925"/>
              <a:ext cx="179388" cy="249237"/>
            </a:xfrm>
            <a:custGeom>
              <a:avLst/>
              <a:gdLst/>
              <a:ahLst/>
              <a:cxnLst>
                <a:cxn ang="0">
                  <a:pos x="74" y="80"/>
                </a:cxn>
                <a:cxn ang="0">
                  <a:pos x="15" y="122"/>
                </a:cxn>
                <a:cxn ang="0">
                  <a:pos x="21" y="50"/>
                </a:cxn>
                <a:cxn ang="0">
                  <a:pos x="80" y="8"/>
                </a:cxn>
                <a:cxn ang="0">
                  <a:pos x="74" y="80"/>
                </a:cxn>
              </a:cxnLst>
              <a:rect l="0" t="0" r="r" b="b"/>
              <a:pathLst>
                <a:path w="94" h="130">
                  <a:moveTo>
                    <a:pt x="74" y="80"/>
                  </a:moveTo>
                  <a:cubicBezTo>
                    <a:pt x="56" y="111"/>
                    <a:pt x="29" y="130"/>
                    <a:pt x="15" y="122"/>
                  </a:cubicBezTo>
                  <a:cubicBezTo>
                    <a:pt x="0" y="114"/>
                    <a:pt x="3" y="81"/>
                    <a:pt x="21" y="50"/>
                  </a:cubicBezTo>
                  <a:cubicBezTo>
                    <a:pt x="39" y="18"/>
                    <a:pt x="65" y="0"/>
                    <a:pt x="80" y="8"/>
                  </a:cubicBezTo>
                  <a:cubicBezTo>
                    <a:pt x="94" y="16"/>
                    <a:pt x="92" y="48"/>
                    <a:pt x="74" y="80"/>
                  </a:cubicBezTo>
                  <a:close/>
                </a:path>
              </a:pathLst>
            </a:custGeom>
            <a:solidFill>
              <a:srgbClr val="40404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57">
              <a:extLst>
                <a:ext uri="{FF2B5EF4-FFF2-40B4-BE49-F238E27FC236}">
                  <a16:creationId xmlns:a16="http://schemas.microsoft.com/office/drawing/2014/main" id="{C0733732-4FC1-4177-BB3F-484D2E1A8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7325" y="2486025"/>
              <a:ext cx="107950" cy="158750"/>
            </a:xfrm>
            <a:custGeom>
              <a:avLst/>
              <a:gdLst/>
              <a:ahLst/>
              <a:cxnLst>
                <a:cxn ang="0">
                  <a:pos x="21" y="37"/>
                </a:cxn>
                <a:cxn ang="0">
                  <a:pos x="56" y="8"/>
                </a:cxn>
                <a:cxn ang="0">
                  <a:pos x="53" y="6"/>
                </a:cxn>
                <a:cxn ang="0">
                  <a:pos x="14" y="34"/>
                </a:cxn>
                <a:cxn ang="0">
                  <a:pos x="10" y="82"/>
                </a:cxn>
                <a:cxn ang="0">
                  <a:pos x="14" y="83"/>
                </a:cxn>
                <a:cxn ang="0">
                  <a:pos x="21" y="37"/>
                </a:cxn>
              </a:cxnLst>
              <a:rect l="0" t="0" r="r" b="b"/>
              <a:pathLst>
                <a:path w="56" h="83">
                  <a:moveTo>
                    <a:pt x="21" y="37"/>
                  </a:moveTo>
                  <a:cubicBezTo>
                    <a:pt x="31" y="19"/>
                    <a:pt x="46" y="7"/>
                    <a:pt x="56" y="8"/>
                  </a:cubicBezTo>
                  <a:cubicBezTo>
                    <a:pt x="55" y="7"/>
                    <a:pt x="54" y="6"/>
                    <a:pt x="53" y="6"/>
                  </a:cubicBezTo>
                  <a:cubicBezTo>
                    <a:pt x="44" y="0"/>
                    <a:pt x="26" y="13"/>
                    <a:pt x="14" y="34"/>
                  </a:cubicBezTo>
                  <a:cubicBezTo>
                    <a:pt x="2" y="55"/>
                    <a:pt x="0" y="76"/>
                    <a:pt x="10" y="82"/>
                  </a:cubicBezTo>
                  <a:cubicBezTo>
                    <a:pt x="11" y="83"/>
                    <a:pt x="13" y="83"/>
                    <a:pt x="14" y="83"/>
                  </a:cubicBezTo>
                  <a:cubicBezTo>
                    <a:pt x="7" y="76"/>
                    <a:pt x="10" y="56"/>
                    <a:pt x="21" y="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Oval 58">
              <a:extLst>
                <a:ext uri="{FF2B5EF4-FFF2-40B4-BE49-F238E27FC236}">
                  <a16:creationId xmlns:a16="http://schemas.microsoft.com/office/drawing/2014/main" id="{8D2FF78A-40F3-447C-9A46-A916DFD788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064" y="2921248"/>
              <a:ext cx="115887" cy="1143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59">
              <a:extLst>
                <a:ext uri="{FF2B5EF4-FFF2-40B4-BE49-F238E27FC236}">
                  <a16:creationId xmlns:a16="http://schemas.microsoft.com/office/drawing/2014/main" id="{C57F4B67-8785-47B6-87A1-80D7DD362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0050" y="3056185"/>
              <a:ext cx="331789" cy="328612"/>
            </a:xfrm>
            <a:custGeom>
              <a:avLst/>
              <a:gdLst/>
              <a:ahLst/>
              <a:cxnLst>
                <a:cxn ang="0">
                  <a:pos x="174" y="158"/>
                </a:cxn>
                <a:cxn ang="0">
                  <a:pos x="166" y="170"/>
                </a:cxn>
                <a:cxn ang="0">
                  <a:pos x="153" y="158"/>
                </a:cxn>
                <a:cxn ang="0">
                  <a:pos x="126" y="21"/>
                </a:cxn>
                <a:cxn ang="0">
                  <a:pos x="96" y="21"/>
                </a:cxn>
                <a:cxn ang="0">
                  <a:pos x="96" y="157"/>
                </a:cxn>
                <a:cxn ang="0">
                  <a:pos x="86" y="172"/>
                </a:cxn>
                <a:cxn ang="0">
                  <a:pos x="75" y="157"/>
                </a:cxn>
                <a:cxn ang="0">
                  <a:pos x="75" y="21"/>
                </a:cxn>
                <a:cxn ang="0">
                  <a:pos x="48" y="21"/>
                </a:cxn>
                <a:cxn ang="0">
                  <a:pos x="21" y="158"/>
                </a:cxn>
                <a:cxn ang="0">
                  <a:pos x="8" y="170"/>
                </a:cxn>
                <a:cxn ang="0">
                  <a:pos x="0" y="158"/>
                </a:cxn>
                <a:cxn ang="0">
                  <a:pos x="1" y="154"/>
                </a:cxn>
                <a:cxn ang="0">
                  <a:pos x="28" y="18"/>
                </a:cxn>
                <a:cxn ang="0">
                  <a:pos x="25" y="11"/>
                </a:cxn>
                <a:cxn ang="0">
                  <a:pos x="36" y="0"/>
                </a:cxn>
                <a:cxn ang="0">
                  <a:pos x="136" y="0"/>
                </a:cxn>
                <a:cxn ang="0">
                  <a:pos x="146" y="11"/>
                </a:cxn>
                <a:cxn ang="0">
                  <a:pos x="146" y="15"/>
                </a:cxn>
                <a:cxn ang="0">
                  <a:pos x="146" y="16"/>
                </a:cxn>
                <a:cxn ang="0">
                  <a:pos x="174" y="154"/>
                </a:cxn>
                <a:cxn ang="0">
                  <a:pos x="174" y="158"/>
                </a:cxn>
              </a:cxnLst>
              <a:rect l="0" t="0" r="r" b="b"/>
              <a:pathLst>
                <a:path w="174" h="172">
                  <a:moveTo>
                    <a:pt x="174" y="158"/>
                  </a:moveTo>
                  <a:cubicBezTo>
                    <a:pt x="174" y="164"/>
                    <a:pt x="171" y="169"/>
                    <a:pt x="166" y="170"/>
                  </a:cubicBezTo>
                  <a:cubicBezTo>
                    <a:pt x="161" y="172"/>
                    <a:pt x="155" y="166"/>
                    <a:pt x="153" y="158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6" y="157"/>
                    <a:pt x="96" y="157"/>
                    <a:pt x="96" y="157"/>
                  </a:cubicBezTo>
                  <a:cubicBezTo>
                    <a:pt x="96" y="165"/>
                    <a:pt x="92" y="172"/>
                    <a:pt x="86" y="172"/>
                  </a:cubicBezTo>
                  <a:cubicBezTo>
                    <a:pt x="80" y="172"/>
                    <a:pt x="75" y="166"/>
                    <a:pt x="75" y="157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21" y="158"/>
                    <a:pt x="21" y="158"/>
                    <a:pt x="21" y="158"/>
                  </a:cubicBezTo>
                  <a:cubicBezTo>
                    <a:pt x="19" y="166"/>
                    <a:pt x="13" y="172"/>
                    <a:pt x="8" y="170"/>
                  </a:cubicBezTo>
                  <a:cubicBezTo>
                    <a:pt x="3" y="169"/>
                    <a:pt x="0" y="164"/>
                    <a:pt x="0" y="158"/>
                  </a:cubicBezTo>
                  <a:cubicBezTo>
                    <a:pt x="0" y="157"/>
                    <a:pt x="0" y="155"/>
                    <a:pt x="1" y="154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6" y="16"/>
                    <a:pt x="25" y="13"/>
                    <a:pt x="25" y="11"/>
                  </a:cubicBezTo>
                  <a:cubicBezTo>
                    <a:pt x="25" y="5"/>
                    <a:pt x="30" y="0"/>
                    <a:pt x="3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2" y="0"/>
                    <a:pt x="146" y="5"/>
                    <a:pt x="146" y="11"/>
                  </a:cubicBezTo>
                  <a:cubicBezTo>
                    <a:pt x="146" y="12"/>
                    <a:pt x="146" y="13"/>
                    <a:pt x="146" y="15"/>
                  </a:cubicBezTo>
                  <a:cubicBezTo>
                    <a:pt x="146" y="15"/>
                    <a:pt x="146" y="16"/>
                    <a:pt x="146" y="16"/>
                  </a:cubicBezTo>
                  <a:cubicBezTo>
                    <a:pt x="174" y="154"/>
                    <a:pt x="174" y="154"/>
                    <a:pt x="174" y="154"/>
                  </a:cubicBezTo>
                  <a:cubicBezTo>
                    <a:pt x="174" y="155"/>
                    <a:pt x="174" y="157"/>
                    <a:pt x="174" y="15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3" name="Přímá spojnice se šipkou 42">
            <a:extLst>
              <a:ext uri="{FF2B5EF4-FFF2-40B4-BE49-F238E27FC236}">
                <a16:creationId xmlns:a16="http://schemas.microsoft.com/office/drawing/2014/main" id="{12C59846-560E-48CB-93CB-3576BB9408F9}"/>
              </a:ext>
            </a:extLst>
          </p:cNvPr>
          <p:cNvCxnSpPr>
            <a:cxnSpLocks/>
          </p:cNvCxnSpPr>
          <p:nvPr/>
        </p:nvCxnSpPr>
        <p:spPr>
          <a:xfrm flipH="1" flipV="1">
            <a:off x="838200" y="3359628"/>
            <a:ext cx="10628508" cy="10638"/>
          </a:xfrm>
          <a:prstGeom prst="straightConnector1">
            <a:avLst/>
          </a:prstGeom>
          <a:noFill/>
          <a:ln w="28575" cap="rnd" cmpd="sng" algn="ctr">
            <a:solidFill>
              <a:srgbClr val="FFFFFF"/>
            </a:solidFill>
            <a:prstDash val="sysDot"/>
            <a:tailEnd type="none" w="med" len="sm"/>
          </a:ln>
          <a:effectLst/>
        </p:spPr>
      </p:cxnSp>
      <p:cxnSp>
        <p:nvCxnSpPr>
          <p:cNvPr id="44" name="Přímá spojnice se šipkou 43">
            <a:extLst>
              <a:ext uri="{FF2B5EF4-FFF2-40B4-BE49-F238E27FC236}">
                <a16:creationId xmlns:a16="http://schemas.microsoft.com/office/drawing/2014/main" id="{795B4F70-1768-4B50-9192-395AA0740F28}"/>
              </a:ext>
            </a:extLst>
          </p:cNvPr>
          <p:cNvCxnSpPr>
            <a:cxnSpLocks/>
          </p:cNvCxnSpPr>
          <p:nvPr/>
        </p:nvCxnSpPr>
        <p:spPr>
          <a:xfrm flipH="1">
            <a:off x="838200" y="2300953"/>
            <a:ext cx="10628508" cy="0"/>
          </a:xfrm>
          <a:prstGeom prst="straightConnector1">
            <a:avLst/>
          </a:prstGeom>
          <a:noFill/>
          <a:ln w="28575" cap="rnd" cmpd="sng" algn="ctr">
            <a:solidFill>
              <a:srgbClr val="FFFFFF"/>
            </a:solidFill>
            <a:prstDash val="sysDot"/>
            <a:tailEnd type="none" w="med" len="sm"/>
          </a:ln>
          <a:effectLst/>
        </p:spPr>
      </p:cxn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B037A7B2-A824-4894-932A-5449B21F5E4C}"/>
              </a:ext>
            </a:extLst>
          </p:cNvPr>
          <p:cNvCxnSpPr>
            <a:cxnSpLocks/>
          </p:cNvCxnSpPr>
          <p:nvPr/>
        </p:nvCxnSpPr>
        <p:spPr>
          <a:xfrm flipH="1">
            <a:off x="838200" y="4462312"/>
            <a:ext cx="10561833" cy="0"/>
          </a:xfrm>
          <a:prstGeom prst="straightConnector1">
            <a:avLst/>
          </a:prstGeom>
          <a:noFill/>
          <a:ln w="28575" cap="rnd" cmpd="sng" algn="ctr">
            <a:solidFill>
              <a:srgbClr val="FFFFFF"/>
            </a:solidFill>
            <a:prstDash val="sysDot"/>
            <a:tailEnd type="none" w="med" len="sm"/>
          </a:ln>
          <a:effectLst/>
        </p:spPr>
      </p:cxnSp>
      <p:cxnSp>
        <p:nvCxnSpPr>
          <p:cNvPr id="3" name="Přímá spojnice se šipkou 2">
            <a:extLst>
              <a:ext uri="{FF2B5EF4-FFF2-40B4-BE49-F238E27FC236}">
                <a16:creationId xmlns:a16="http://schemas.microsoft.com/office/drawing/2014/main" id="{4197184E-C9EF-0C99-C8A3-94384D928844}"/>
              </a:ext>
            </a:extLst>
          </p:cNvPr>
          <p:cNvCxnSpPr>
            <a:cxnSpLocks/>
          </p:cNvCxnSpPr>
          <p:nvPr/>
        </p:nvCxnSpPr>
        <p:spPr>
          <a:xfrm flipH="1">
            <a:off x="838200" y="5579446"/>
            <a:ext cx="10561833" cy="0"/>
          </a:xfrm>
          <a:prstGeom prst="straightConnector1">
            <a:avLst/>
          </a:prstGeom>
          <a:noFill/>
          <a:ln w="28575" cap="rnd" cmpd="sng" algn="ctr">
            <a:solidFill>
              <a:srgbClr val="FFFFFF"/>
            </a:solidFill>
            <a:prstDash val="sysDot"/>
            <a:tailEnd type="none" w="med" len="sm"/>
          </a:ln>
          <a:effectLst/>
        </p:spPr>
      </p:cxnSp>
    </p:spTree>
    <p:extLst>
      <p:ext uri="{BB962C8B-B14F-4D97-AF65-F5344CB8AC3E}">
        <p14:creationId xmlns:p14="http://schemas.microsoft.com/office/powerpoint/2010/main" val="23933312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7376262"/>
              </p:ext>
            </p:extLst>
          </p:nvPr>
        </p:nvGraphicFramePr>
        <p:xfrm>
          <a:off x="499756" y="1755847"/>
          <a:ext cx="8140391" cy="37100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631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71154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1303025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1303025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</a:tblGrid>
              <a:tr h="381678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máhá mi to zabránit ostatním v kopírování mých řešen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aručuje to lepší právní jistotu ohledně rozsahu ochran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vyšuje to šance na účinné vymáhání práv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vyšuje to hodnotu a image mé společnosti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vyšuje to šance na financován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pl-PL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e to běžná praxe mezi firmami, se kterými jedná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epšuje to mou vyjednávací pozici s ostatními firmami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678697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ískáváme díky tomu příjmy z licenc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560508"/>
                  </a:ext>
                </a:extLst>
              </a:tr>
              <a:tr h="36981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ví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521981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3937067"/>
              </p:ext>
            </p:extLst>
          </p:nvPr>
        </p:nvGraphicFramePr>
        <p:xfrm>
          <a:off x="4272313" y="1686187"/>
          <a:ext cx="2430491" cy="377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214815" cy="701731"/>
          </a:xfrm>
        </p:spPr>
        <p:txBody>
          <a:bodyPr/>
          <a:lstStyle/>
          <a:p>
            <a:r>
              <a:rPr lang="cs-CZ" sz="2200" dirty="0"/>
              <a:t>Firmy si registrují práva duševního vlastnictví převážně z důvodu, protože jim to pomáhá zabránit ostatním v kopírování jejich řešení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10459125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Důvody registrace práv duševního vlastnictví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4. Proč si Vaše společnost zaregistrovala práva duševního vlastnictví?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94/41/53 (báze ti, kteří vlastní nějaká registrovaná práva duševního vlastnictví)</a:t>
            </a:r>
            <a:endParaRPr lang="en-US" sz="11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30275712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5384189"/>
              </p:ext>
            </p:extLst>
          </p:nvPr>
        </p:nvGraphicFramePr>
        <p:xfrm>
          <a:off x="499756" y="1755847"/>
          <a:ext cx="8131061" cy="37100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631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71154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1298360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1298360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</a:tblGrid>
              <a:tr h="347081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mocí externího soukromého poradc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 internetu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řad průmyslového vlastnictv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krze obchodní komoru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 pomocí helpdesku EU pro práva duševního vlastnictv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U a mezinárodní úřady duševního vlastnictv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dvětvové federace nebo profesní sdružen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678697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lší vládní organizac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560508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nd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437416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hledali jsme informace k registraci duševního vlastnictv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521981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0748088"/>
              </p:ext>
            </p:extLst>
          </p:nvPr>
        </p:nvGraphicFramePr>
        <p:xfrm>
          <a:off x="4272313" y="1686187"/>
          <a:ext cx="2430491" cy="3779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214815" cy="701731"/>
          </a:xfrm>
        </p:spPr>
        <p:txBody>
          <a:bodyPr/>
          <a:lstStyle/>
          <a:p>
            <a:r>
              <a:rPr lang="cs-CZ" sz="2200" dirty="0"/>
              <a:t>Firmy nejčastěji využívají externích soukromých poradců. Hledají také na internetu a využívají úřadu průmyslového vlastnictví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10459125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Místa hledání informací k registraci duševního vlastnictví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5. Kde jste hledali informace k registraci duševního vlastnictví?</a:t>
            </a:r>
            <a:endParaRPr lang="pl-PL" sz="1100" dirty="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94/41/53 (báze ti, kteří vlastní nějaká registrovaná práva duševního vlastnictví)</a:t>
            </a:r>
            <a:endParaRPr lang="en-US" sz="11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18016117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20643"/>
            <a:ext cx="11213966" cy="701731"/>
          </a:xfrm>
        </p:spPr>
        <p:txBody>
          <a:bodyPr/>
          <a:lstStyle/>
          <a:p>
            <a:r>
              <a:rPr lang="cs-CZ" sz="2200" dirty="0"/>
              <a:t>Duševní vlastnictví se nejsnadněji registruje v případě dalších alternativních opatření, národních ochranných známek a patentů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Hodnocení obtížnosti registrace duševního vlastnictví v následujících oblastech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898206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7. Jak obtížné bylo pro Vaši společnost zaregistrovat práva duševního vlastnictví v následujících oblastech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pl-PL" sz="1100" dirty="0">
                <a:solidFill>
                  <a:prstClr val="black"/>
                </a:solidFill>
                <a:latin typeface="Arial"/>
              </a:rPr>
              <a:t>14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41/27/37/36/20 báze ti, kteří daná práva využívají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8" name="Tabulka 67">
            <a:extLst>
              <a:ext uri="{FF2B5EF4-FFF2-40B4-BE49-F238E27FC236}">
                <a16:creationId xmlns:a16="http://schemas.microsoft.com/office/drawing/2014/main" id="{9E46368E-9CA5-423B-B991-E35B66E7C5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892082"/>
              </p:ext>
            </p:extLst>
          </p:nvPr>
        </p:nvGraphicFramePr>
        <p:xfrm>
          <a:off x="456718" y="5271954"/>
          <a:ext cx="9219390" cy="512445"/>
        </p:xfrm>
        <a:graphic>
          <a:graphicData uri="http://schemas.openxmlformats.org/drawingml/2006/table">
            <a:tbl>
              <a:tblPr firstRow="1" bandRow="1"/>
              <a:tblGrid>
                <a:gridCol w="1536565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1536565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1536565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1536565">
                  <a:extLst>
                    <a:ext uri="{9D8B030D-6E8A-4147-A177-3AD203B41FA5}">
                      <a16:colId xmlns:a16="http://schemas.microsoft.com/office/drawing/2014/main" val="3096506462"/>
                    </a:ext>
                  </a:extLst>
                </a:gridCol>
                <a:gridCol w="15365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365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lší alternativní opatření</a:t>
                      </a:r>
                      <a:br>
                        <a:rPr lang="cs-CZ" sz="8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oménová jména)</a:t>
                      </a:r>
                      <a:endParaRPr lang="en-US" sz="8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8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árodní ochranná známka</a:t>
                      </a:r>
                      <a:endParaRPr lang="en-US" sz="8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tent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chranná </a:t>
                      </a:r>
                      <a:b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námka EU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žitný vzor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8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ový vzor Společenství</a:t>
                      </a:r>
                      <a:endParaRPr lang="en-US" sz="8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graphicFrame>
        <p:nvGraphicFramePr>
          <p:cNvPr id="69" name="Zástupný symbol pro obsah 6">
            <a:extLst>
              <a:ext uri="{FF2B5EF4-FFF2-40B4-BE49-F238E27FC236}">
                <a16:creationId xmlns:a16="http://schemas.microsoft.com/office/drawing/2014/main" id="{86A626BF-2B20-4E32-9DA3-710653F1A4C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98978332"/>
              </p:ext>
            </p:extLst>
          </p:nvPr>
        </p:nvGraphicFramePr>
        <p:xfrm>
          <a:off x="388484" y="1855439"/>
          <a:ext cx="9336805" cy="37384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Zástupný symbol pro zápatí 2">
            <a:extLst>
              <a:ext uri="{FF2B5EF4-FFF2-40B4-BE49-F238E27FC236}">
                <a16:creationId xmlns:a16="http://schemas.microsoft.com/office/drawing/2014/main" id="{A2EB5C7D-7E41-2312-74FF-5AB7EB758A0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2829" y="6279270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CA74A29E-45EA-09B0-B262-C7EF4E33FB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9754691"/>
              </p:ext>
            </p:extLst>
          </p:nvPr>
        </p:nvGraphicFramePr>
        <p:xfrm>
          <a:off x="10034831" y="2480845"/>
          <a:ext cx="1424529" cy="24406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45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Velmi snadné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5272764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Snadné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kern="1200" noProof="0" dirty="0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Nevím</a:t>
                      </a:r>
                      <a:endParaRPr lang="cs-CZ" sz="1000" b="0" kern="1200" dirty="0">
                        <a:solidFill>
                          <a:srgbClr val="4040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kern="1200" noProof="0" dirty="0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Obtížné</a:t>
                      </a:r>
                      <a:endParaRPr lang="cs-CZ" sz="1000" b="0" kern="1200" dirty="0">
                        <a:solidFill>
                          <a:srgbClr val="4040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Velmi obtížné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0066467"/>
                  </a:ext>
                </a:extLst>
              </a:tr>
            </a:tbl>
          </a:graphicData>
        </a:graphic>
      </p:graphicFrame>
      <p:sp>
        <p:nvSpPr>
          <p:cNvPr id="23" name="Rectangle 24">
            <a:extLst>
              <a:ext uri="{FF2B5EF4-FFF2-40B4-BE49-F238E27FC236}">
                <a16:creationId xmlns:a16="http://schemas.microsoft.com/office/drawing/2014/main" id="{468178E7-3E42-2A7C-F608-78EFD681F26B}"/>
              </a:ext>
            </a:extLst>
          </p:cNvPr>
          <p:cNvSpPr/>
          <p:nvPr/>
        </p:nvSpPr>
        <p:spPr>
          <a:xfrm>
            <a:off x="9926832" y="3155380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1AA1FB43-AB67-2163-2543-BE9E36D2269E}"/>
              </a:ext>
            </a:extLst>
          </p:cNvPr>
          <p:cNvSpPr/>
          <p:nvPr/>
        </p:nvSpPr>
        <p:spPr>
          <a:xfrm>
            <a:off x="9926955" y="3635133"/>
            <a:ext cx="108000" cy="10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996FA8D-4BE2-08C1-7A20-2B93B7B5CC2D}"/>
              </a:ext>
            </a:extLst>
          </p:cNvPr>
          <p:cNvSpPr/>
          <p:nvPr/>
        </p:nvSpPr>
        <p:spPr>
          <a:xfrm>
            <a:off x="9926832" y="4132406"/>
            <a:ext cx="108000" cy="108000"/>
          </a:xfrm>
          <a:prstGeom prst="rect">
            <a:avLst/>
          </a:prstGeom>
          <a:solidFill>
            <a:srgbClr val="99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24">
            <a:extLst>
              <a:ext uri="{FF2B5EF4-FFF2-40B4-BE49-F238E27FC236}">
                <a16:creationId xmlns:a16="http://schemas.microsoft.com/office/drawing/2014/main" id="{5193AD75-B3A3-8AB6-7BDF-33140338BCEA}"/>
              </a:ext>
            </a:extLst>
          </p:cNvPr>
          <p:cNvSpPr/>
          <p:nvPr/>
        </p:nvSpPr>
        <p:spPr>
          <a:xfrm>
            <a:off x="9926832" y="4620548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24">
            <a:extLst>
              <a:ext uri="{FF2B5EF4-FFF2-40B4-BE49-F238E27FC236}">
                <a16:creationId xmlns:a16="http://schemas.microsoft.com/office/drawing/2014/main" id="{A396F8DA-EEB5-ABA5-26AD-7688D0857582}"/>
              </a:ext>
            </a:extLst>
          </p:cNvPr>
          <p:cNvSpPr/>
          <p:nvPr/>
        </p:nvSpPr>
        <p:spPr>
          <a:xfrm>
            <a:off x="9926832" y="2675627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8" name="Tabulka 1">
            <a:extLst>
              <a:ext uri="{FF2B5EF4-FFF2-40B4-BE49-F238E27FC236}">
                <a16:creationId xmlns:a16="http://schemas.microsoft.com/office/drawing/2014/main" id="{80A8BD67-09A5-6E51-EE1D-8033D17F36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8743692"/>
              </p:ext>
            </p:extLst>
          </p:nvPr>
        </p:nvGraphicFramePr>
        <p:xfrm>
          <a:off x="456717" y="2343427"/>
          <a:ext cx="9125232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08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2087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152087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15208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20872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1520872">
                  <a:extLst>
                    <a:ext uri="{9D8B030D-6E8A-4147-A177-3AD203B41FA5}">
                      <a16:colId xmlns:a16="http://schemas.microsoft.com/office/drawing/2014/main" val="1575327860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8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9" name="Tabulka 1">
            <a:extLst>
              <a:ext uri="{FF2B5EF4-FFF2-40B4-BE49-F238E27FC236}">
                <a16:creationId xmlns:a16="http://schemas.microsoft.com/office/drawing/2014/main" id="{973A80DC-D0CD-92B0-1734-81227A8D47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9817962"/>
              </p:ext>
            </p:extLst>
          </p:nvPr>
        </p:nvGraphicFramePr>
        <p:xfrm>
          <a:off x="9685805" y="2338885"/>
          <a:ext cx="1975098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5098">
                  <a:extLst>
                    <a:ext uri="{9D8B030D-6E8A-4147-A177-3AD203B41FA5}">
                      <a16:colId xmlns:a16="http://schemas.microsoft.com/office/drawing/2014/main" val="1575327860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Velmi snadné + snadné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12731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4855156"/>
              </p:ext>
            </p:extLst>
          </p:nvPr>
        </p:nvGraphicFramePr>
        <p:xfrm>
          <a:off x="499756" y="1755847"/>
          <a:ext cx="8121731" cy="38174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631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71154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1293695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1293695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</a:tblGrid>
              <a:tr h="347081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valo příliš dlouho, než mi byla duševní práva zaregistrován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dostatečné znalosti/nevěděl/a jsem, kam se obrátit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dostatečné pokyn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tížný postup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ákladný postup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platnost žádosti (rozpor s dřívějším právem soutěžitele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dmítnutí registrace ze strany Úřadu průmyslového vlastnictv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678697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sence novosti, vynálezecké činnosti, individuální povahy, rozlišovací způsobilosti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560508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né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521981"/>
                  </a:ext>
                </a:extLst>
              </a:tr>
              <a:tr h="33629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vyskytly se žádné obtíž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841211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3338464"/>
              </p:ext>
            </p:extLst>
          </p:nvPr>
        </p:nvGraphicFramePr>
        <p:xfrm>
          <a:off x="4272312" y="1619076"/>
          <a:ext cx="3034499" cy="3959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348189" cy="701731"/>
          </a:xfrm>
        </p:spPr>
        <p:txBody>
          <a:bodyPr/>
          <a:lstStyle/>
          <a:p>
            <a:r>
              <a:rPr lang="cs-CZ" sz="2200" dirty="0"/>
              <a:t>NEJČASTĚJŠÍ Obtíží PŘI REGISTRACI je, ŽE TRVÁ PŘÍLIŠ DLOUHO, NEŽ JSOU DUŠEVNÍ PRÁVA REGISTROVÁNA. Zhruba ŠESTINA FIREM SE S OBTÍŽEMI NESETKALA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10459125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Obtíže při registraci práva duševního vlastnictví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8. Jaké obtíže jste zažili při registraci práva duševního vlastnictví?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94/41/53 (báze ti, kteří vlastní nějaká registrovaná práva duševního vlastnictví)</a:t>
            </a:r>
            <a:endParaRPr lang="en-US" sz="11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19685055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20643"/>
            <a:ext cx="11213966" cy="701731"/>
          </a:xfrm>
        </p:spPr>
        <p:txBody>
          <a:bodyPr/>
          <a:lstStyle/>
          <a:p>
            <a:r>
              <a:rPr lang="cs-CZ" sz="2200" dirty="0"/>
              <a:t>Většina firem využívající práva duševního vlastnictví hodnotí jejich vliv na své podnikání pozitivně. 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11619602" cy="3682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liv duševního vlastnictví na podnikání společnosti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898206"/>
            <a:ext cx="11403782" cy="618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5">
              <a:lnSpc>
                <a:spcPts val="1400"/>
              </a:lnSpc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20. Myslíte si, že ochrana duševního vlastnictví má vliv na podnikání Vaší společnosti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94/41/53 (báze ti, kteří vlastní nějaká registrovaná práva duševního vlastnictví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9" name="Zástupný symbol pro obsah 6">
            <a:extLst>
              <a:ext uri="{FF2B5EF4-FFF2-40B4-BE49-F238E27FC236}">
                <a16:creationId xmlns:a16="http://schemas.microsoft.com/office/drawing/2014/main" id="{86A626BF-2B20-4E32-9DA3-710653F1A4C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3385201"/>
              </p:ext>
            </p:extLst>
          </p:nvPr>
        </p:nvGraphicFramePr>
        <p:xfrm>
          <a:off x="388484" y="1855439"/>
          <a:ext cx="6759993" cy="37384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Zástupný symbol pro zápatí 2">
            <a:extLst>
              <a:ext uri="{FF2B5EF4-FFF2-40B4-BE49-F238E27FC236}">
                <a16:creationId xmlns:a16="http://schemas.microsoft.com/office/drawing/2014/main" id="{A2EB5C7D-7E41-2312-74FF-5AB7EB758A0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2829" y="6279270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CA74A29E-45EA-09B0-B262-C7EF4E33FB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6881934"/>
              </p:ext>
            </p:extLst>
          </p:nvPr>
        </p:nvGraphicFramePr>
        <p:xfrm>
          <a:off x="7703308" y="2480845"/>
          <a:ext cx="2244483" cy="24406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4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Velmi pozitivní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5272764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Spíše pozitivní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kern="1200" noProof="0" dirty="0" err="1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Žádný+Nevím</a:t>
                      </a:r>
                      <a:endParaRPr lang="cs-CZ" sz="1000" b="0" kern="1200" dirty="0">
                        <a:solidFill>
                          <a:srgbClr val="4040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kern="1200" noProof="0" dirty="0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Negativní</a:t>
                      </a:r>
                      <a:endParaRPr lang="cs-CZ" sz="1000" b="0" kern="1200" dirty="0">
                        <a:solidFill>
                          <a:srgbClr val="4040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Velmi negativní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0066467"/>
                  </a:ext>
                </a:extLst>
              </a:tr>
            </a:tbl>
          </a:graphicData>
        </a:graphic>
      </p:graphicFrame>
      <p:sp>
        <p:nvSpPr>
          <p:cNvPr id="23" name="Rectangle 24">
            <a:extLst>
              <a:ext uri="{FF2B5EF4-FFF2-40B4-BE49-F238E27FC236}">
                <a16:creationId xmlns:a16="http://schemas.microsoft.com/office/drawing/2014/main" id="{468178E7-3E42-2A7C-F608-78EFD681F26B}"/>
              </a:ext>
            </a:extLst>
          </p:cNvPr>
          <p:cNvSpPr/>
          <p:nvPr/>
        </p:nvSpPr>
        <p:spPr>
          <a:xfrm>
            <a:off x="7435553" y="3155380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1AA1FB43-AB67-2163-2543-BE9E36D2269E}"/>
              </a:ext>
            </a:extLst>
          </p:cNvPr>
          <p:cNvSpPr/>
          <p:nvPr/>
        </p:nvSpPr>
        <p:spPr>
          <a:xfrm>
            <a:off x="7435676" y="3635133"/>
            <a:ext cx="108000" cy="10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996FA8D-4BE2-08C1-7A20-2B93B7B5CC2D}"/>
              </a:ext>
            </a:extLst>
          </p:cNvPr>
          <p:cNvSpPr/>
          <p:nvPr/>
        </p:nvSpPr>
        <p:spPr>
          <a:xfrm>
            <a:off x="7435553" y="4132406"/>
            <a:ext cx="108000" cy="108000"/>
          </a:xfrm>
          <a:prstGeom prst="rect">
            <a:avLst/>
          </a:prstGeom>
          <a:solidFill>
            <a:srgbClr val="99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24">
            <a:extLst>
              <a:ext uri="{FF2B5EF4-FFF2-40B4-BE49-F238E27FC236}">
                <a16:creationId xmlns:a16="http://schemas.microsoft.com/office/drawing/2014/main" id="{5193AD75-B3A3-8AB6-7BDF-33140338BCEA}"/>
              </a:ext>
            </a:extLst>
          </p:cNvPr>
          <p:cNvSpPr/>
          <p:nvPr/>
        </p:nvSpPr>
        <p:spPr>
          <a:xfrm>
            <a:off x="7435553" y="4620548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24">
            <a:extLst>
              <a:ext uri="{FF2B5EF4-FFF2-40B4-BE49-F238E27FC236}">
                <a16:creationId xmlns:a16="http://schemas.microsoft.com/office/drawing/2014/main" id="{A396F8DA-EEB5-ABA5-26AD-7688D0857582}"/>
              </a:ext>
            </a:extLst>
          </p:cNvPr>
          <p:cNvSpPr/>
          <p:nvPr/>
        </p:nvSpPr>
        <p:spPr>
          <a:xfrm>
            <a:off x="7435553" y="2675627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CBD34682-23A9-C980-32AA-40447CE7BE5A}"/>
              </a:ext>
            </a:extLst>
          </p:cNvPr>
          <p:cNvCxnSpPr/>
          <p:nvPr/>
        </p:nvCxnSpPr>
        <p:spPr>
          <a:xfrm>
            <a:off x="2682963" y="2275621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Tabulka 1">
            <a:extLst>
              <a:ext uri="{FF2B5EF4-FFF2-40B4-BE49-F238E27FC236}">
                <a16:creationId xmlns:a16="http://schemas.microsoft.com/office/drawing/2014/main" id="{80A8BD67-09A5-6E51-EE1D-8033D17F36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5321092"/>
              </p:ext>
            </p:extLst>
          </p:nvPr>
        </p:nvGraphicFramePr>
        <p:xfrm>
          <a:off x="572398" y="2343427"/>
          <a:ext cx="6388239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94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29413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2129413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9" name="Tabulka 1">
            <a:extLst>
              <a:ext uri="{FF2B5EF4-FFF2-40B4-BE49-F238E27FC236}">
                <a16:creationId xmlns:a16="http://schemas.microsoft.com/office/drawing/2014/main" id="{973A80DC-D0CD-92B0-1734-81227A8D47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9051244"/>
              </p:ext>
            </p:extLst>
          </p:nvPr>
        </p:nvGraphicFramePr>
        <p:xfrm>
          <a:off x="7119877" y="2338885"/>
          <a:ext cx="1975098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5098">
                  <a:extLst>
                    <a:ext uri="{9D8B030D-6E8A-4147-A177-3AD203B41FA5}">
                      <a16:colId xmlns:a16="http://schemas.microsoft.com/office/drawing/2014/main" val="1575327860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Pozitiv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8" name="Tabulka 67">
            <a:extLst>
              <a:ext uri="{FF2B5EF4-FFF2-40B4-BE49-F238E27FC236}">
                <a16:creationId xmlns:a16="http://schemas.microsoft.com/office/drawing/2014/main" id="{9E46368E-9CA5-423B-B991-E35B66E7C5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294785"/>
              </p:ext>
            </p:extLst>
          </p:nvPr>
        </p:nvGraphicFramePr>
        <p:xfrm>
          <a:off x="428723" y="5271954"/>
          <a:ext cx="6858487" cy="512445"/>
        </p:xfrm>
        <a:graphic>
          <a:graphicData uri="http://schemas.openxmlformats.org/drawingml/2006/table">
            <a:tbl>
              <a:tblPr firstRow="1" bandRow="1" bandCol="1"/>
              <a:tblGrid>
                <a:gridCol w="2238154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2238154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2382179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313245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9083246"/>
              </p:ext>
            </p:extLst>
          </p:nvPr>
        </p:nvGraphicFramePr>
        <p:xfrm>
          <a:off x="499756" y="1755847"/>
          <a:ext cx="8121731" cy="37785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631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71154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1293695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1293695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</a:tblGrid>
              <a:tr h="388725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664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výšená pověst nebo image spolehlivost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64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výšení obrat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664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zšíření trh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37664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výšení ziskovost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664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ílení dlouhodobých obchodních vyhlídek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664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nadnější přístup k financován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664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vé možnosti spolupráce s jinými společnostm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678697"/>
                  </a:ext>
                </a:extLst>
              </a:tr>
              <a:tr h="37664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výšení zaměstnanost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560508"/>
                  </a:ext>
                </a:extLst>
              </a:tr>
              <a:tr h="376642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iné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521981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9641314"/>
              </p:ext>
            </p:extLst>
          </p:nvPr>
        </p:nvGraphicFramePr>
        <p:xfrm>
          <a:off x="4272312" y="1675950"/>
          <a:ext cx="2272326" cy="39027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348189" cy="701731"/>
          </a:xfrm>
        </p:spPr>
        <p:txBody>
          <a:bodyPr/>
          <a:lstStyle/>
          <a:p>
            <a:r>
              <a:rPr lang="cs-CZ" sz="2200" dirty="0"/>
              <a:t>Nejčastějšími pozitivními dopady využívání ochrany duševního vlastnictví jsou zlepšená pověst společnosti a zvýšení obratu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10459125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dirty="0">
                <a:solidFill>
                  <a:prstClr val="black"/>
                </a:solidFill>
                <a:latin typeface="Arial Black"/>
              </a:rPr>
              <a:t>Pozitivní dopady ochrany duševního vlastnictví na podnikání společnosti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92881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21. Uvedl/a jste, že ochrana duševního vlastnictví má pozitivní vliv na podnikání Vaší společnosti. Mohl/a byste, prosím, uvést, které pozitivní dopady to konkrétně jsou?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77/32/45, báze ti, kteří uvedli, že ochrana duševního vlastnictví má pozitivní vliv na jejich podnikání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326900156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5422408"/>
              </p:ext>
            </p:extLst>
          </p:nvPr>
        </p:nvGraphicFramePr>
        <p:xfrm>
          <a:off x="499756" y="1755847"/>
          <a:ext cx="8121731" cy="38696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631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71154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1293695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1293695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</a:tblGrid>
              <a:tr h="777223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31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 posledních 6 měsících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31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ěhem posledního roku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31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a posledních 5 let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77311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řed více než 5 let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1645290"/>
              </p:ext>
            </p:extLst>
          </p:nvPr>
        </p:nvGraphicFramePr>
        <p:xfrm>
          <a:off x="4272313" y="2189527"/>
          <a:ext cx="2824773" cy="3452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348189" cy="701731"/>
          </a:xfrm>
        </p:spPr>
        <p:txBody>
          <a:bodyPr/>
          <a:lstStyle/>
          <a:p>
            <a:r>
              <a:rPr lang="cs-CZ" sz="2200" dirty="0"/>
              <a:t>Firmy nejčastěji o registraci práva duševního vlastnictví zažádaly </a:t>
            </a:r>
            <a:br>
              <a:rPr lang="cs-CZ" sz="2200" dirty="0"/>
            </a:br>
            <a:r>
              <a:rPr lang="cs-CZ" sz="2200" dirty="0"/>
              <a:t>v období posledních 5 let nebo během posledního roku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10459125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oslední žádost o registraci duševního vlastnictví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9. Kdy Vaše společnost naposledy požádala o registraci práva duševního vlastnictví?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94/41/53 (báze ti, kteří vlastní nějaká registrovaná práva duševního vlastnictví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394163868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6" y="537475"/>
            <a:ext cx="9330746" cy="3065006"/>
          </a:xfrm>
        </p:spPr>
        <p:txBody>
          <a:bodyPr/>
          <a:lstStyle/>
          <a:p>
            <a:r>
              <a:rPr lang="cs-CZ" dirty="0"/>
              <a:t>Firmy nevyužívající práva duševního vlastnictví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711316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9086096"/>
              </p:ext>
            </p:extLst>
          </p:nvPr>
        </p:nvGraphicFramePr>
        <p:xfrm>
          <a:off x="499756" y="1466586"/>
          <a:ext cx="8121731" cy="42881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631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71154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1293695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1293695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</a:tblGrid>
              <a:tr h="298264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myslím si, že mé duševní vlastnictví splňovalo požadavky předpisů o právech duševního vlastnictv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mnívám se, že mé duševní vlastnictví nebylo dostatečně inovativn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mám dostatečné znalosti o registrovaných právech duševního vlastnictv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lo to příliš zatěžujíc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ylo to příliš nákladné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mnívám se, že z formální ochrany práv duševního vlastnictví neplynou žádné další výhod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pl-PL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těl/a bych, aby byla dostupná komukol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678697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ráněn neformálně pomocí neregistrovaných práv duševního vlastnictví (obchodní tajemství, autorská práva atd.).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560508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áva duševního vlastnictví nebyla pro mé inovační kroky obvykle k dispozici nebo byl jejich rozsah pro mé potřeby příliš úzký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521981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tupy spojené s registrací práv duševního vlastnictví by příliš zdržovaly uvedení mého výrobku/služby na trh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841211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tenciální obtíže při prosazování práv duševního vlastnictví/potenciální náklady na soudní spor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0236916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iný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8329082"/>
                  </a:ext>
                </a:extLst>
              </a:tr>
              <a:tr h="298264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vím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2693575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2635209"/>
              </p:ext>
            </p:extLst>
          </p:nvPr>
        </p:nvGraphicFramePr>
        <p:xfrm>
          <a:off x="4272312" y="1212121"/>
          <a:ext cx="3034499" cy="4542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348189" cy="590931"/>
          </a:xfrm>
        </p:spPr>
        <p:txBody>
          <a:bodyPr/>
          <a:lstStyle/>
          <a:p>
            <a:r>
              <a:rPr lang="cs-CZ" sz="1800" dirty="0"/>
              <a:t>Nejčastějším důvodem neregistrování duševního vlastnictví ve firmách je to, že podle nich jejich duševní vlastnictví nesplňuje právní požadavky daných předpisů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10459125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Důvody nezaregistrování práv duševního vlastnictví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5">
              <a:lnSpc>
                <a:spcPts val="1400"/>
              </a:lnSpc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24. Proč jste si nezaregistrovali žádná práva duševního vlastnictví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187/138/49 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(báze ti, kteří nevlastní žádná registrovaná práva duševního vlastnictví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101826700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1356579" cy="701731"/>
          </a:xfrm>
        </p:spPr>
        <p:txBody>
          <a:bodyPr/>
          <a:lstStyle/>
          <a:p>
            <a:r>
              <a:rPr lang="cs-CZ" sz="2200" dirty="0"/>
              <a:t>Drtivá většina podniků bez registrovaného duševního vlastnictví tuto možnost ani s nikým nekonzultovala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97595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Hledaly podniky informace nebo konzultovaly možnosti registrace duševního vlastnictví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681691"/>
            <a:ext cx="11403782" cy="618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25. Konzultovali jste s někým, zda práva průmyslového vlastnictví neregistrovat? Hledali jste někde informace ohledně registrace? Q25a. Kde jste hledali tuto radu? Kdo Vám ji poskytl?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187/138/49 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(báze ti, kteří nevlastní žádná registrovaná práva duševního vlastnictví); N=27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038809749"/>
              </p:ext>
            </p:extLst>
          </p:nvPr>
        </p:nvGraphicFramePr>
        <p:xfrm>
          <a:off x="696887" y="2366588"/>
          <a:ext cx="3417916" cy="3268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904513" y="3742399"/>
            <a:ext cx="1204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em</a:t>
            </a:r>
          </a:p>
        </p:txBody>
      </p:sp>
      <p:sp>
        <p:nvSpPr>
          <p:cNvPr id="7" name="Rectangle 6"/>
          <p:cNvSpPr/>
          <p:nvPr/>
        </p:nvSpPr>
        <p:spPr>
          <a:xfrm>
            <a:off x="4108107" y="2066126"/>
            <a:ext cx="166591" cy="18288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89822" y="1990913"/>
            <a:ext cx="526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816529" y="2073746"/>
            <a:ext cx="175260" cy="1752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946582" y="1989707"/>
            <a:ext cx="602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</a:t>
            </a:r>
          </a:p>
        </p:txBody>
      </p:sp>
      <p:sp>
        <p:nvSpPr>
          <p:cNvPr id="8" name="Zástupný symbol pro zápatí 2">
            <a:extLst>
              <a:ext uri="{FF2B5EF4-FFF2-40B4-BE49-F238E27FC236}">
                <a16:creationId xmlns:a16="http://schemas.microsoft.com/office/drawing/2014/main" id="{AC696590-8929-E4DB-BAC7-33EAF70E00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007D4C5E-96CF-9341-1400-6DBFF4D989CF}"/>
              </a:ext>
            </a:extLst>
          </p:cNvPr>
          <p:cNvSpPr/>
          <p:nvPr/>
        </p:nvSpPr>
        <p:spPr>
          <a:xfrm>
            <a:off x="5372891" y="2075833"/>
            <a:ext cx="175260" cy="17526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25">
            <a:extLst>
              <a:ext uri="{FF2B5EF4-FFF2-40B4-BE49-F238E27FC236}">
                <a16:creationId xmlns:a16="http://schemas.microsoft.com/office/drawing/2014/main" id="{C06AB0DE-31AD-FD68-3845-B7F8C84D9E60}"/>
              </a:ext>
            </a:extLst>
          </p:cNvPr>
          <p:cNvSpPr txBox="1"/>
          <p:nvPr/>
        </p:nvSpPr>
        <p:spPr>
          <a:xfrm>
            <a:off x="5502943" y="1991794"/>
            <a:ext cx="1126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vím</a:t>
            </a:r>
          </a:p>
        </p:txBody>
      </p:sp>
      <p:graphicFrame>
        <p:nvGraphicFramePr>
          <p:cNvPr id="16" name="Chart 21">
            <a:extLst>
              <a:ext uri="{FF2B5EF4-FFF2-40B4-BE49-F238E27FC236}">
                <a16:creationId xmlns:a16="http://schemas.microsoft.com/office/drawing/2014/main" id="{6F2CF105-0189-D0BC-D8FF-EE6965C5E3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6394475"/>
              </p:ext>
            </p:extLst>
          </p:nvPr>
        </p:nvGraphicFramePr>
        <p:xfrm>
          <a:off x="3527788" y="2836979"/>
          <a:ext cx="2774940" cy="2229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4">
            <a:extLst>
              <a:ext uri="{FF2B5EF4-FFF2-40B4-BE49-F238E27FC236}">
                <a16:creationId xmlns:a16="http://schemas.microsoft.com/office/drawing/2014/main" id="{66C1C265-BE6D-F5C4-CE5A-9DAB829E5FF3}"/>
              </a:ext>
            </a:extLst>
          </p:cNvPr>
          <p:cNvSpPr txBox="1"/>
          <p:nvPr/>
        </p:nvSpPr>
        <p:spPr>
          <a:xfrm>
            <a:off x="4356367" y="3742425"/>
            <a:ext cx="10530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-49 zaměstnanců</a:t>
            </a:r>
          </a:p>
        </p:txBody>
      </p:sp>
      <p:sp>
        <p:nvSpPr>
          <p:cNvPr id="18" name="TextBox 27">
            <a:extLst>
              <a:ext uri="{FF2B5EF4-FFF2-40B4-BE49-F238E27FC236}">
                <a16:creationId xmlns:a16="http://schemas.microsoft.com/office/drawing/2014/main" id="{B59326C6-BEC5-C939-EC18-F8C9B2D87A1C}"/>
              </a:ext>
            </a:extLst>
          </p:cNvPr>
          <p:cNvSpPr txBox="1"/>
          <p:nvPr/>
        </p:nvSpPr>
        <p:spPr>
          <a:xfrm>
            <a:off x="6464772" y="3723375"/>
            <a:ext cx="10056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-249 zaměstnanců</a:t>
            </a:r>
          </a:p>
        </p:txBody>
      </p:sp>
      <p:graphicFrame>
        <p:nvGraphicFramePr>
          <p:cNvPr id="36" name="Chart 21">
            <a:extLst>
              <a:ext uri="{FF2B5EF4-FFF2-40B4-BE49-F238E27FC236}">
                <a16:creationId xmlns:a16="http://schemas.microsoft.com/office/drawing/2014/main" id="{873F07C9-2E33-707D-CD24-4869633ADE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6287995"/>
              </p:ext>
            </p:extLst>
          </p:nvPr>
        </p:nvGraphicFramePr>
        <p:xfrm>
          <a:off x="5552478" y="2846504"/>
          <a:ext cx="2774940" cy="2229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ulka 14">
            <a:extLst>
              <a:ext uri="{FF2B5EF4-FFF2-40B4-BE49-F238E27FC236}">
                <a16:creationId xmlns:a16="http://schemas.microsoft.com/office/drawing/2014/main" id="{2F13F9BE-56F7-07B1-2C13-1DC433BE98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4664596"/>
              </p:ext>
            </p:extLst>
          </p:nvPr>
        </p:nvGraphicFramePr>
        <p:xfrm>
          <a:off x="8454228" y="3076564"/>
          <a:ext cx="2774941" cy="1798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4941">
                  <a:extLst>
                    <a:ext uri="{9D8B030D-6E8A-4147-A177-3AD203B41FA5}">
                      <a16:colId xmlns:a16="http://schemas.microsoft.com/office/drawing/2014/main" val="722569442"/>
                    </a:ext>
                  </a:extLst>
                </a:gridCol>
              </a:tblGrid>
              <a:tr h="313905">
                <a:tc>
                  <a:txBody>
                    <a:bodyPr/>
                    <a:lstStyle/>
                    <a:p>
                      <a:r>
                        <a:rPr lang="cs-CZ" sz="1100" dirty="0"/>
                        <a:t>Kdo nejčastěji poskytl konzultaci/informace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4460072"/>
                  </a:ext>
                </a:extLst>
              </a:tr>
              <a:tr h="76467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281051"/>
                          </a:solidFill>
                        </a:rPr>
                        <a:t>Patentový úřad: 37%</a:t>
                      </a:r>
                      <a:br>
                        <a:rPr lang="cs-CZ" sz="1400" dirty="0">
                          <a:solidFill>
                            <a:srgbClr val="281051"/>
                          </a:solidFill>
                        </a:rPr>
                      </a:br>
                      <a:r>
                        <a:rPr lang="cs-CZ" sz="1400" dirty="0">
                          <a:solidFill>
                            <a:srgbClr val="281051"/>
                          </a:solidFill>
                        </a:rPr>
                        <a:t>ÚPV: 30 %</a:t>
                      </a:r>
                      <a:br>
                        <a:rPr lang="cs-CZ" sz="1400" dirty="0">
                          <a:solidFill>
                            <a:srgbClr val="281051"/>
                          </a:solidFill>
                        </a:rPr>
                      </a:br>
                      <a:r>
                        <a:rPr lang="cs-CZ" sz="1400" dirty="0">
                          <a:solidFill>
                            <a:srgbClr val="281051"/>
                          </a:solidFill>
                        </a:rPr>
                        <a:t>Banka: 11 %</a:t>
                      </a:r>
                      <a:br>
                        <a:rPr lang="cs-CZ" sz="1400" dirty="0">
                          <a:solidFill>
                            <a:srgbClr val="281051"/>
                          </a:solidFill>
                        </a:rPr>
                      </a:br>
                      <a:r>
                        <a:rPr lang="cs-CZ" sz="1400" dirty="0">
                          <a:solidFill>
                            <a:srgbClr val="281051"/>
                          </a:solidFill>
                        </a:rPr>
                        <a:t>Agentura pro podnikání a inovace: 11 %</a:t>
                      </a:r>
                      <a:br>
                        <a:rPr lang="cs-CZ" sz="1400" dirty="0">
                          <a:solidFill>
                            <a:srgbClr val="281051"/>
                          </a:solidFill>
                        </a:rPr>
                      </a:br>
                      <a:r>
                        <a:rPr lang="cs-CZ" sz="1400" dirty="0">
                          <a:solidFill>
                            <a:srgbClr val="281051"/>
                          </a:solidFill>
                        </a:rPr>
                        <a:t>Účetní: 11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39178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95713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/>
          <a:lstStyle/>
          <a:p>
            <a:r>
              <a:rPr lang="cs-CZ" dirty="0"/>
              <a:t>Shrnutí výsledků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19321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1667450"/>
              </p:ext>
            </p:extLst>
          </p:nvPr>
        </p:nvGraphicFramePr>
        <p:xfrm>
          <a:off x="499756" y="1649898"/>
          <a:ext cx="8121731" cy="39152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631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71154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1293695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1293695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</a:tblGrid>
              <a:tr h="482209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dyby byl proces srozumitelnějš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7221">
                <a:tc>
                  <a:txBody>
                    <a:bodyPr/>
                    <a:lstStyle/>
                    <a:p>
                      <a:pPr algn="r" fontAlgn="ctr"/>
                      <a:r>
                        <a:rPr lang="pl-PL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dyby byla registrace snadněji dostupná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dybych si mohl/a být jistý/á dostatečnou ochrano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52139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kud by bylo levnější registrovat, udržovat nebo obnovovat práva duševního vlastnictv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139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dybych měl/a více znalostí/pochopení toho, co je duševní vlastnictví.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139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dyby bylo snazší podniknout právní kroky proti porušovatelům práv a získat odpovídající odškodněn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678697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2011566"/>
              </p:ext>
            </p:extLst>
          </p:nvPr>
        </p:nvGraphicFramePr>
        <p:xfrm>
          <a:off x="4272312" y="1571946"/>
          <a:ext cx="3034499" cy="4006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348189" cy="701731"/>
          </a:xfrm>
        </p:spPr>
        <p:txBody>
          <a:bodyPr/>
          <a:lstStyle/>
          <a:p>
            <a:r>
              <a:rPr lang="cs-CZ" sz="2200" dirty="0"/>
              <a:t>K registraci duševního vlastnictví by často podniky motivovala větší srozumitelnost procesu a dostupnost registrace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10459125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Co by motivovalo k registraci duševního vlastnictví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26. Za jakých podmínek byste v budoucnu uvažovali o registraci práva duševního vlastnictví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187/138/49 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(báze ti, kteří nevlastní žádná registrovaná práva duševního vlastnictví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</p:spTree>
    <p:extLst>
      <p:ext uri="{BB962C8B-B14F-4D97-AF65-F5344CB8AC3E}">
        <p14:creationId xmlns:p14="http://schemas.microsoft.com/office/powerpoint/2010/main" val="42373587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20643"/>
            <a:ext cx="11213966" cy="701731"/>
          </a:xfrm>
        </p:spPr>
        <p:txBody>
          <a:bodyPr/>
          <a:lstStyle/>
          <a:p>
            <a:r>
              <a:rPr lang="cs-CZ" sz="2200" dirty="0"/>
              <a:t>Velká většina podniků nevnímá žádný vliv neregistrování duševního vlastnictví na podnikání společnosti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11619602" cy="3682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liv neregistrování duševního vlastnictví na podnikání společnosti</a:t>
            </a:r>
            <a:b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</a:b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898206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27. Myslíte si, že nezaregistrování duševního vlastnictví mělo dopad na podnikání Vaší společnosti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187/138/49 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(báze ti, kteří nevlastní žádná registrovaná práva duševního vlastnictví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9" name="Zástupný symbol pro obsah 6">
            <a:extLst>
              <a:ext uri="{FF2B5EF4-FFF2-40B4-BE49-F238E27FC236}">
                <a16:creationId xmlns:a16="http://schemas.microsoft.com/office/drawing/2014/main" id="{86A626BF-2B20-4E32-9DA3-710653F1A4C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52259489"/>
              </p:ext>
            </p:extLst>
          </p:nvPr>
        </p:nvGraphicFramePr>
        <p:xfrm>
          <a:off x="388484" y="1855439"/>
          <a:ext cx="6759993" cy="37384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Zástupný symbol pro zápatí 2">
            <a:extLst>
              <a:ext uri="{FF2B5EF4-FFF2-40B4-BE49-F238E27FC236}">
                <a16:creationId xmlns:a16="http://schemas.microsoft.com/office/drawing/2014/main" id="{A2EB5C7D-7E41-2312-74FF-5AB7EB758A0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2829" y="6279270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CA74A29E-45EA-09B0-B262-C7EF4E33FB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417650"/>
              </p:ext>
            </p:extLst>
          </p:nvPr>
        </p:nvGraphicFramePr>
        <p:xfrm>
          <a:off x="7333440" y="2614408"/>
          <a:ext cx="2244483" cy="24406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4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Velmi pozitivní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5272764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Spíše pozitivní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kern="1200" noProof="0" dirty="0" err="1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Žádný+Nevím</a:t>
                      </a:r>
                      <a:endParaRPr lang="cs-CZ" sz="1000" b="0" kern="1200" dirty="0">
                        <a:solidFill>
                          <a:srgbClr val="4040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kern="1200" noProof="0" dirty="0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Negativní</a:t>
                      </a:r>
                      <a:endParaRPr lang="cs-CZ" sz="1000" b="0" kern="1200" dirty="0">
                        <a:solidFill>
                          <a:srgbClr val="4040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Velmi negativní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0066467"/>
                  </a:ext>
                </a:extLst>
              </a:tr>
            </a:tbl>
          </a:graphicData>
        </a:graphic>
      </p:graphicFrame>
      <p:sp>
        <p:nvSpPr>
          <p:cNvPr id="23" name="Rectangle 24">
            <a:extLst>
              <a:ext uri="{FF2B5EF4-FFF2-40B4-BE49-F238E27FC236}">
                <a16:creationId xmlns:a16="http://schemas.microsoft.com/office/drawing/2014/main" id="{468178E7-3E42-2A7C-F608-78EFD681F26B}"/>
              </a:ext>
            </a:extLst>
          </p:cNvPr>
          <p:cNvSpPr/>
          <p:nvPr/>
        </p:nvSpPr>
        <p:spPr>
          <a:xfrm>
            <a:off x="7065685" y="3288943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1AA1FB43-AB67-2163-2543-BE9E36D2269E}"/>
              </a:ext>
            </a:extLst>
          </p:cNvPr>
          <p:cNvSpPr/>
          <p:nvPr/>
        </p:nvSpPr>
        <p:spPr>
          <a:xfrm>
            <a:off x="7065808" y="3768696"/>
            <a:ext cx="108000" cy="10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996FA8D-4BE2-08C1-7A20-2B93B7B5CC2D}"/>
              </a:ext>
            </a:extLst>
          </p:cNvPr>
          <p:cNvSpPr/>
          <p:nvPr/>
        </p:nvSpPr>
        <p:spPr>
          <a:xfrm>
            <a:off x="7065685" y="4265969"/>
            <a:ext cx="108000" cy="108000"/>
          </a:xfrm>
          <a:prstGeom prst="rect">
            <a:avLst/>
          </a:prstGeom>
          <a:solidFill>
            <a:srgbClr val="99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24">
            <a:extLst>
              <a:ext uri="{FF2B5EF4-FFF2-40B4-BE49-F238E27FC236}">
                <a16:creationId xmlns:a16="http://schemas.microsoft.com/office/drawing/2014/main" id="{5193AD75-B3A3-8AB6-7BDF-33140338BCEA}"/>
              </a:ext>
            </a:extLst>
          </p:cNvPr>
          <p:cNvSpPr/>
          <p:nvPr/>
        </p:nvSpPr>
        <p:spPr>
          <a:xfrm>
            <a:off x="7065685" y="4754111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24">
            <a:extLst>
              <a:ext uri="{FF2B5EF4-FFF2-40B4-BE49-F238E27FC236}">
                <a16:creationId xmlns:a16="http://schemas.microsoft.com/office/drawing/2014/main" id="{A396F8DA-EEB5-ABA5-26AD-7688D0857582}"/>
              </a:ext>
            </a:extLst>
          </p:cNvPr>
          <p:cNvSpPr/>
          <p:nvPr/>
        </p:nvSpPr>
        <p:spPr>
          <a:xfrm>
            <a:off x="7065685" y="2809190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CBD34682-23A9-C980-32AA-40447CE7BE5A}"/>
              </a:ext>
            </a:extLst>
          </p:cNvPr>
          <p:cNvCxnSpPr/>
          <p:nvPr/>
        </p:nvCxnSpPr>
        <p:spPr>
          <a:xfrm>
            <a:off x="2682963" y="2275621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Tabulka 1">
            <a:extLst>
              <a:ext uri="{FF2B5EF4-FFF2-40B4-BE49-F238E27FC236}">
                <a16:creationId xmlns:a16="http://schemas.microsoft.com/office/drawing/2014/main" id="{80A8BD67-09A5-6E51-EE1D-8033D17F36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644329"/>
              </p:ext>
            </p:extLst>
          </p:nvPr>
        </p:nvGraphicFramePr>
        <p:xfrm>
          <a:off x="572398" y="2343427"/>
          <a:ext cx="6388239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94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29413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2129413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9" name="Tabulka 1">
            <a:extLst>
              <a:ext uri="{FF2B5EF4-FFF2-40B4-BE49-F238E27FC236}">
                <a16:creationId xmlns:a16="http://schemas.microsoft.com/office/drawing/2014/main" id="{973A80DC-D0CD-92B0-1734-81227A8D47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4920507"/>
              </p:ext>
            </p:extLst>
          </p:nvPr>
        </p:nvGraphicFramePr>
        <p:xfrm>
          <a:off x="6750009" y="2410804"/>
          <a:ext cx="1975098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5098">
                  <a:extLst>
                    <a:ext uri="{9D8B030D-6E8A-4147-A177-3AD203B41FA5}">
                      <a16:colId xmlns:a16="http://schemas.microsoft.com/office/drawing/2014/main" val="1575327860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Pozitiv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8" name="Tabulka 67">
            <a:extLst>
              <a:ext uri="{FF2B5EF4-FFF2-40B4-BE49-F238E27FC236}">
                <a16:creationId xmlns:a16="http://schemas.microsoft.com/office/drawing/2014/main" id="{9E46368E-9CA5-423B-B991-E35B66E7C520}"/>
              </a:ext>
            </a:extLst>
          </p:cNvPr>
          <p:cNvGraphicFramePr>
            <a:graphicFrameLocks noGrp="1"/>
          </p:cNvGraphicFramePr>
          <p:nvPr/>
        </p:nvGraphicFramePr>
        <p:xfrm>
          <a:off x="428723" y="5271954"/>
          <a:ext cx="6858487" cy="512445"/>
        </p:xfrm>
        <a:graphic>
          <a:graphicData uri="http://schemas.openxmlformats.org/drawingml/2006/table">
            <a:tbl>
              <a:tblPr firstRow="1" bandRow="1" bandCol="1"/>
              <a:tblGrid>
                <a:gridCol w="2238154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2238154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2382179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3529505A-C59E-913D-609A-3D3C6A5455DA}"/>
              </a:ext>
            </a:extLst>
          </p:cNvPr>
          <p:cNvSpPr/>
          <p:nvPr/>
        </p:nvSpPr>
        <p:spPr>
          <a:xfrm>
            <a:off x="9012975" y="2583453"/>
            <a:ext cx="2636599" cy="2492821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/>
              <a:t>Jako konkrétní pozitivní dopady podniky uváděly více peněz na investice jinde nebo více času na jinou práci.</a:t>
            </a:r>
            <a:br>
              <a:rPr lang="cs-CZ" sz="1400" dirty="0"/>
            </a:br>
            <a:br>
              <a:rPr lang="cs-CZ" sz="1400" dirty="0"/>
            </a:br>
            <a:r>
              <a:rPr lang="cs-CZ" sz="1400" dirty="0"/>
              <a:t>Jako negativní dopady pak zmiňovaly zhoršenou pověst společnosti nebo nemožnost zastavit kopírování/padělání</a:t>
            </a:r>
          </a:p>
        </p:txBody>
      </p:sp>
    </p:spTree>
    <p:extLst>
      <p:ext uri="{BB962C8B-B14F-4D97-AF65-F5344CB8AC3E}">
        <p14:creationId xmlns:p14="http://schemas.microsoft.com/office/powerpoint/2010/main" val="21618835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6" y="537475"/>
            <a:ext cx="9330746" cy="849015"/>
          </a:xfrm>
        </p:spPr>
        <p:txBody>
          <a:bodyPr/>
          <a:lstStyle/>
          <a:p>
            <a:r>
              <a:rPr lang="cs-CZ" dirty="0"/>
              <a:t>Struktura vzork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03839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31800"/>
            <a:ext cx="11382428" cy="424732"/>
          </a:xfrm>
        </p:spPr>
        <p:txBody>
          <a:bodyPr/>
          <a:lstStyle/>
          <a:p>
            <a:r>
              <a:rPr lang="cs-CZ" sz="2400" dirty="0"/>
              <a:t>Struktura vzorku (v %)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C0E12F3-5CE2-4849-B33C-4E99138511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3E1F0A22-4298-405B-8509-35696BB3212C}"/>
              </a:ext>
            </a:extLst>
          </p:cNvPr>
          <p:cNvSpPr/>
          <p:nvPr/>
        </p:nvSpPr>
        <p:spPr>
          <a:xfrm>
            <a:off x="1798306" y="3571123"/>
            <a:ext cx="185499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čet zaměstnanců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C0EBFC5C-0BEA-422B-9DB4-8B9A68F26FF5}"/>
              </a:ext>
            </a:extLst>
          </p:cNvPr>
          <p:cNvSpPr/>
          <p:nvPr/>
        </p:nvSpPr>
        <p:spPr>
          <a:xfrm>
            <a:off x="2304066" y="1227385"/>
            <a:ext cx="6126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or</a:t>
            </a:r>
          </a:p>
        </p:txBody>
      </p:sp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DCE1ED80-07DB-D726-1679-35FA970BE75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7930669"/>
              </p:ext>
            </p:extLst>
          </p:nvPr>
        </p:nvGraphicFramePr>
        <p:xfrm>
          <a:off x="929320" y="1341663"/>
          <a:ext cx="4987610" cy="2115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ontent Placeholder 4">
            <a:extLst>
              <a:ext uri="{FF2B5EF4-FFF2-40B4-BE49-F238E27FC236}">
                <a16:creationId xmlns:a16="http://schemas.microsoft.com/office/drawing/2014/main" id="{715D4EEE-B2DC-A884-F4BE-AF910F13F6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3719924"/>
              </p:ext>
            </p:extLst>
          </p:nvPr>
        </p:nvGraphicFramePr>
        <p:xfrm>
          <a:off x="326943" y="3775371"/>
          <a:ext cx="5688645" cy="2115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Obdélník 7">
            <a:extLst>
              <a:ext uri="{FF2B5EF4-FFF2-40B4-BE49-F238E27FC236}">
                <a16:creationId xmlns:a16="http://schemas.microsoft.com/office/drawing/2014/main" id="{0AF1AD8D-C622-359D-C51F-A76977C9010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305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B118CDD6-355A-CCDF-FD23-50172047A69E}"/>
              </a:ext>
            </a:extLst>
          </p:cNvPr>
          <p:cNvSpPr/>
          <p:nvPr/>
        </p:nvSpPr>
        <p:spPr>
          <a:xfrm>
            <a:off x="5403272" y="1227385"/>
            <a:ext cx="550984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bývala se firma někdy problematikou duševního vlastnictví?</a:t>
            </a:r>
          </a:p>
        </p:txBody>
      </p:sp>
      <p:graphicFrame>
        <p:nvGraphicFramePr>
          <p:cNvPr id="11" name="Content Placeholder 4">
            <a:extLst>
              <a:ext uri="{FF2B5EF4-FFF2-40B4-BE49-F238E27FC236}">
                <a16:creationId xmlns:a16="http://schemas.microsoft.com/office/drawing/2014/main" id="{E8B1E847-1204-D128-EBC0-92AE129DD6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0970147"/>
              </p:ext>
            </p:extLst>
          </p:nvPr>
        </p:nvGraphicFramePr>
        <p:xfrm>
          <a:off x="5009511" y="1432865"/>
          <a:ext cx="5688645" cy="1752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Obdélník 1">
            <a:extLst>
              <a:ext uri="{FF2B5EF4-FFF2-40B4-BE49-F238E27FC236}">
                <a16:creationId xmlns:a16="http://schemas.microsoft.com/office/drawing/2014/main" id="{328132C8-988E-62F6-9880-5BB8CFD3F26E}"/>
              </a:ext>
            </a:extLst>
          </p:cNvPr>
          <p:cNvSpPr/>
          <p:nvPr/>
        </p:nvSpPr>
        <p:spPr>
          <a:xfrm>
            <a:off x="6080935" y="3579687"/>
            <a:ext cx="27398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Územní dopad působení firmy</a:t>
            </a:r>
          </a:p>
        </p:txBody>
      </p:sp>
      <p:graphicFrame>
        <p:nvGraphicFramePr>
          <p:cNvPr id="4" name="Content Placeholder 4">
            <a:extLst>
              <a:ext uri="{FF2B5EF4-FFF2-40B4-BE49-F238E27FC236}">
                <a16:creationId xmlns:a16="http://schemas.microsoft.com/office/drawing/2014/main" id="{3BC875DF-74B8-E404-4EE6-1E0AD70EEE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6932966"/>
              </p:ext>
            </p:extLst>
          </p:nvPr>
        </p:nvGraphicFramePr>
        <p:xfrm>
          <a:off x="5041085" y="3783935"/>
          <a:ext cx="5688645" cy="2115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51667681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849015"/>
          </a:xfrm>
        </p:spPr>
        <p:txBody>
          <a:bodyPr/>
          <a:lstStyle/>
          <a:p>
            <a:r>
              <a:rPr lang="cs-CZ" dirty="0"/>
              <a:t>kontak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52060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Obrázek 58" descr="Tomas.Macku (3).tif">
            <a:extLst>
              <a:ext uri="{FF2B5EF4-FFF2-40B4-BE49-F238E27FC236}">
                <a16:creationId xmlns:a16="http://schemas.microsoft.com/office/drawing/2014/main" id="{C6D5493C-589F-4701-B6CC-61C9E18BC342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rcRect b="16447"/>
          <a:stretch>
            <a:fillRect/>
          </a:stretch>
        </p:blipFill>
        <p:spPr>
          <a:xfrm>
            <a:off x="9048183" y="1743835"/>
            <a:ext cx="1187085" cy="1436463"/>
          </a:xfrm>
          <a:prstGeom prst="ellipse">
            <a:avLst/>
          </a:prstGeom>
          <a:noFill/>
          <a:ln>
            <a:noFill/>
          </a:ln>
        </p:spPr>
      </p:pic>
      <p:sp>
        <p:nvSpPr>
          <p:cNvPr id="7" name="Nadpis 6">
            <a:extLst>
              <a:ext uri="{FF2B5EF4-FFF2-40B4-BE49-F238E27FC236}">
                <a16:creationId xmlns:a16="http://schemas.microsoft.com/office/drawing/2014/main" id="{37737573-EAC6-4CA9-A674-9005172FB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31800"/>
            <a:ext cx="11382428" cy="424732"/>
          </a:xfrm>
        </p:spPr>
        <p:txBody>
          <a:bodyPr/>
          <a:lstStyle/>
          <a:p>
            <a:r>
              <a:rPr lang="cs-CZ" sz="2400" dirty="0"/>
              <a:t>Kontakty</a:t>
            </a:r>
            <a:endParaRPr lang="en-US" sz="2400" dirty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E9B9CDD2-4CDE-431E-82B1-101B56FB7F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02180" y="3308408"/>
            <a:ext cx="3114675" cy="341633"/>
          </a:xfrm>
        </p:spPr>
        <p:txBody>
          <a:bodyPr/>
          <a:lstStyle/>
          <a:p>
            <a:r>
              <a:rPr lang="cs-CZ" dirty="0">
                <a:latin typeface="+mj-lt"/>
              </a:rPr>
              <a:t>Jan polák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119135FD-B45B-478E-B0B7-01415D896E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2435" y="3308408"/>
            <a:ext cx="3121480" cy="341632"/>
          </a:xfrm>
        </p:spPr>
        <p:txBody>
          <a:bodyPr/>
          <a:lstStyle/>
          <a:p>
            <a:r>
              <a:rPr lang="cs-CZ" dirty="0">
                <a:latin typeface="+mj-lt"/>
              </a:rPr>
              <a:t>Jan humhej</a:t>
            </a:r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E5C30E55-3E29-4F18-8C5B-F02E179FAE3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975270" y="3308408"/>
            <a:ext cx="2851704" cy="341632"/>
          </a:xfrm>
        </p:spPr>
        <p:txBody>
          <a:bodyPr/>
          <a:lstStyle/>
          <a:p>
            <a:r>
              <a:rPr lang="cs-CZ" dirty="0">
                <a:latin typeface="+mj-lt"/>
              </a:rPr>
              <a:t>Tomáš macků</a:t>
            </a:r>
          </a:p>
        </p:txBody>
      </p:sp>
      <p:sp>
        <p:nvSpPr>
          <p:cNvPr id="11" name="Zástupný text 10">
            <a:extLst>
              <a:ext uri="{FF2B5EF4-FFF2-40B4-BE49-F238E27FC236}">
                <a16:creationId xmlns:a16="http://schemas.microsoft.com/office/drawing/2014/main" id="{FABE9A6C-FABE-42B9-AE0A-FDCA92DC2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14425" y="3799211"/>
            <a:ext cx="2851704" cy="777136"/>
          </a:xfrm>
        </p:spPr>
        <p:txBody>
          <a:bodyPr/>
          <a:lstStyle/>
          <a:p>
            <a:r>
              <a:rPr lang="cs-CZ" b="1" dirty="0"/>
              <a:t>Account Director </a:t>
            </a:r>
            <a:br>
              <a:rPr lang="cs-CZ" b="1" dirty="0"/>
            </a:br>
            <a:r>
              <a:rPr lang="cs-CZ" b="1" dirty="0"/>
              <a:t>Ipsos Customer Experience</a:t>
            </a:r>
          </a:p>
          <a:p>
            <a:endParaRPr lang="cs-CZ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8639790-8C19-441F-90DA-3C4FCD0634C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45</a:t>
            </a:fld>
            <a:r>
              <a:rPr lang="en-GB" dirty="0"/>
              <a:t>  </a:t>
            </a:r>
          </a:p>
        </p:txBody>
      </p:sp>
      <p:grpSp>
        <p:nvGrpSpPr>
          <p:cNvPr id="55" name="Skupina 54">
            <a:extLst>
              <a:ext uri="{FF2B5EF4-FFF2-40B4-BE49-F238E27FC236}">
                <a16:creationId xmlns:a16="http://schemas.microsoft.com/office/drawing/2014/main" id="{4208907E-AC30-4820-A83D-01B1BC69ED03}"/>
              </a:ext>
            </a:extLst>
          </p:cNvPr>
          <p:cNvGrpSpPr/>
          <p:nvPr/>
        </p:nvGrpSpPr>
        <p:grpSpPr>
          <a:xfrm>
            <a:off x="1219200" y="4410185"/>
            <a:ext cx="2129259" cy="521293"/>
            <a:chOff x="419179" y="3771563"/>
            <a:chExt cx="2129259" cy="521293"/>
          </a:xfrm>
        </p:grpSpPr>
        <p:grpSp>
          <p:nvGrpSpPr>
            <p:cNvPr id="31" name="Group 153">
              <a:extLst>
                <a:ext uri="{FF2B5EF4-FFF2-40B4-BE49-F238E27FC236}">
                  <a16:creationId xmlns:a16="http://schemas.microsoft.com/office/drawing/2014/main" id="{CB1471F1-F40F-44B9-8DDC-6E6CF3B75CDF}"/>
                </a:ext>
              </a:extLst>
            </p:cNvPr>
            <p:cNvGrpSpPr>
              <a:grpSpLocks noChangeAspect="1"/>
            </p:cNvGrpSpPr>
            <p:nvPr/>
          </p:nvGrpSpPr>
          <p:grpSpPr bwMode="black">
            <a:xfrm>
              <a:off x="419179" y="3843283"/>
              <a:ext cx="179279" cy="119520"/>
              <a:chOff x="-6357938" y="3122613"/>
              <a:chExt cx="1104900" cy="736600"/>
            </a:xfrm>
            <a:solidFill>
              <a:srgbClr val="405A9C"/>
            </a:solidFill>
          </p:grpSpPr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0D9504F8-36B2-4B31-B71A-CA2B742D9D06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-6319838" y="3122613"/>
                <a:ext cx="1028700" cy="431800"/>
              </a:xfrm>
              <a:custGeom>
                <a:avLst/>
                <a:gdLst/>
                <a:ahLst/>
                <a:cxnLst>
                  <a:cxn ang="0">
                    <a:pos x="324" y="272"/>
                  </a:cxn>
                  <a:cxn ang="0">
                    <a:pos x="648" y="0"/>
                  </a:cxn>
                  <a:cxn ang="0">
                    <a:pos x="648" y="0"/>
                  </a:cxn>
                  <a:cxn ang="0">
                    <a:pos x="64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324" y="272"/>
                  </a:cxn>
                </a:cxnLst>
                <a:rect l="0" t="0" r="r" b="b"/>
                <a:pathLst>
                  <a:path w="648" h="272">
                    <a:moveTo>
                      <a:pt x="324" y="272"/>
                    </a:moveTo>
                    <a:lnTo>
                      <a:pt x="648" y="0"/>
                    </a:lnTo>
                    <a:lnTo>
                      <a:pt x="648" y="0"/>
                    </a:lnTo>
                    <a:lnTo>
                      <a:pt x="64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324" y="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3" name="Freeform 8">
                <a:extLst>
                  <a:ext uri="{FF2B5EF4-FFF2-40B4-BE49-F238E27FC236}">
                    <a16:creationId xmlns:a16="http://schemas.microsoft.com/office/drawing/2014/main" id="{2F5A106C-A127-4A2E-8426-8788E33DF9B6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-5621338" y="3154363"/>
                <a:ext cx="368300" cy="669925"/>
              </a:xfrm>
              <a:custGeom>
                <a:avLst/>
                <a:gdLst/>
                <a:ahLst/>
                <a:cxnLst>
                  <a:cxn ang="0">
                    <a:pos x="232" y="8"/>
                  </a:cxn>
                  <a:cxn ang="0">
                    <a:pos x="232" y="8"/>
                  </a:cxn>
                  <a:cxn ang="0">
                    <a:pos x="230" y="0"/>
                  </a:cxn>
                  <a:cxn ang="0">
                    <a:pos x="0" y="192"/>
                  </a:cxn>
                  <a:cxn ang="0">
                    <a:pos x="230" y="422"/>
                  </a:cxn>
                  <a:cxn ang="0">
                    <a:pos x="230" y="422"/>
                  </a:cxn>
                  <a:cxn ang="0">
                    <a:pos x="232" y="416"/>
                  </a:cxn>
                  <a:cxn ang="0">
                    <a:pos x="232" y="8"/>
                  </a:cxn>
                </a:cxnLst>
                <a:rect l="0" t="0" r="r" b="b"/>
                <a:pathLst>
                  <a:path w="232" h="422">
                    <a:moveTo>
                      <a:pt x="232" y="8"/>
                    </a:moveTo>
                    <a:lnTo>
                      <a:pt x="232" y="8"/>
                    </a:lnTo>
                    <a:lnTo>
                      <a:pt x="230" y="0"/>
                    </a:lnTo>
                    <a:lnTo>
                      <a:pt x="0" y="192"/>
                    </a:lnTo>
                    <a:lnTo>
                      <a:pt x="230" y="422"/>
                    </a:lnTo>
                    <a:lnTo>
                      <a:pt x="230" y="422"/>
                    </a:lnTo>
                    <a:lnTo>
                      <a:pt x="232" y="416"/>
                    </a:lnTo>
                    <a:lnTo>
                      <a:pt x="23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4" name="Freeform 9">
                <a:extLst>
                  <a:ext uri="{FF2B5EF4-FFF2-40B4-BE49-F238E27FC236}">
                    <a16:creationId xmlns:a16="http://schemas.microsoft.com/office/drawing/2014/main" id="{9712E83B-87AA-4F8B-B8C1-2C6E2E7A9ACD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-6357938" y="3154363"/>
                <a:ext cx="368300" cy="6699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8"/>
                  </a:cxn>
                  <a:cxn ang="0">
                    <a:pos x="0" y="416"/>
                  </a:cxn>
                  <a:cxn ang="0">
                    <a:pos x="0" y="416"/>
                  </a:cxn>
                  <a:cxn ang="0">
                    <a:pos x="2" y="422"/>
                  </a:cxn>
                  <a:cxn ang="0">
                    <a:pos x="232" y="192"/>
                  </a:cxn>
                  <a:cxn ang="0">
                    <a:pos x="2" y="0"/>
                  </a:cxn>
                </a:cxnLst>
                <a:rect l="0" t="0" r="r" b="b"/>
                <a:pathLst>
                  <a:path w="232" h="422">
                    <a:moveTo>
                      <a:pt x="2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0" y="416"/>
                    </a:lnTo>
                    <a:lnTo>
                      <a:pt x="0" y="416"/>
                    </a:lnTo>
                    <a:lnTo>
                      <a:pt x="2" y="422"/>
                    </a:lnTo>
                    <a:lnTo>
                      <a:pt x="232" y="19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5" name="Freeform 10">
                <a:extLst>
                  <a:ext uri="{FF2B5EF4-FFF2-40B4-BE49-F238E27FC236}">
                    <a16:creationId xmlns:a16="http://schemas.microsoft.com/office/drawing/2014/main" id="{F337C576-B75B-484F-BB41-7B487704CF1F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-6323013" y="3487738"/>
                <a:ext cx="1035050" cy="371475"/>
              </a:xfrm>
              <a:custGeom>
                <a:avLst/>
                <a:gdLst/>
                <a:ahLst/>
                <a:cxnLst>
                  <a:cxn ang="0">
                    <a:pos x="420" y="0"/>
                  </a:cxn>
                  <a:cxn ang="0">
                    <a:pos x="336" y="72"/>
                  </a:cxn>
                  <a:cxn ang="0">
                    <a:pos x="336" y="72"/>
                  </a:cxn>
                  <a:cxn ang="0">
                    <a:pos x="330" y="74"/>
                  </a:cxn>
                  <a:cxn ang="0">
                    <a:pos x="326" y="74"/>
                  </a:cxn>
                  <a:cxn ang="0">
                    <a:pos x="326" y="74"/>
                  </a:cxn>
                  <a:cxn ang="0">
                    <a:pos x="322" y="74"/>
                  </a:cxn>
                  <a:cxn ang="0">
                    <a:pos x="316" y="72"/>
                  </a:cxn>
                  <a:cxn ang="0">
                    <a:pos x="232" y="0"/>
                  </a:cxn>
                  <a:cxn ang="0">
                    <a:pos x="0" y="232"/>
                  </a:cxn>
                  <a:cxn ang="0">
                    <a:pos x="0" y="232"/>
                  </a:cxn>
                  <a:cxn ang="0">
                    <a:pos x="6" y="234"/>
                  </a:cxn>
                  <a:cxn ang="0">
                    <a:pos x="646" y="234"/>
                  </a:cxn>
                  <a:cxn ang="0">
                    <a:pos x="646" y="234"/>
                  </a:cxn>
                  <a:cxn ang="0">
                    <a:pos x="652" y="232"/>
                  </a:cxn>
                  <a:cxn ang="0">
                    <a:pos x="420" y="0"/>
                  </a:cxn>
                </a:cxnLst>
                <a:rect l="0" t="0" r="r" b="b"/>
                <a:pathLst>
                  <a:path w="652" h="234">
                    <a:moveTo>
                      <a:pt x="420" y="0"/>
                    </a:moveTo>
                    <a:lnTo>
                      <a:pt x="336" y="72"/>
                    </a:lnTo>
                    <a:lnTo>
                      <a:pt x="336" y="72"/>
                    </a:lnTo>
                    <a:lnTo>
                      <a:pt x="330" y="74"/>
                    </a:lnTo>
                    <a:lnTo>
                      <a:pt x="326" y="74"/>
                    </a:lnTo>
                    <a:lnTo>
                      <a:pt x="326" y="74"/>
                    </a:lnTo>
                    <a:lnTo>
                      <a:pt x="322" y="74"/>
                    </a:lnTo>
                    <a:lnTo>
                      <a:pt x="316" y="72"/>
                    </a:lnTo>
                    <a:lnTo>
                      <a:pt x="232" y="0"/>
                    </a:lnTo>
                    <a:lnTo>
                      <a:pt x="0" y="232"/>
                    </a:lnTo>
                    <a:lnTo>
                      <a:pt x="0" y="232"/>
                    </a:lnTo>
                    <a:lnTo>
                      <a:pt x="6" y="234"/>
                    </a:lnTo>
                    <a:lnTo>
                      <a:pt x="646" y="234"/>
                    </a:lnTo>
                    <a:lnTo>
                      <a:pt x="646" y="234"/>
                    </a:lnTo>
                    <a:lnTo>
                      <a:pt x="652" y="232"/>
                    </a:lnTo>
                    <a:lnTo>
                      <a:pt x="4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6" name="TextBox 68">
              <a:extLst>
                <a:ext uri="{FF2B5EF4-FFF2-40B4-BE49-F238E27FC236}">
                  <a16:creationId xmlns:a16="http://schemas.microsoft.com/office/drawing/2014/main" id="{D74157A7-44BF-42BB-AF65-60BD3E2A2BFF}"/>
                </a:ext>
              </a:extLst>
            </p:cNvPr>
            <p:cNvSpPr txBox="1"/>
            <p:nvPr/>
          </p:nvSpPr>
          <p:spPr bwMode="black">
            <a:xfrm>
              <a:off x="751471" y="3771563"/>
              <a:ext cx="1796967" cy="22576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pPr marL="6351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467" dirty="0">
                  <a:solidFill>
                    <a:srgbClr val="405A9C"/>
                  </a:solidFill>
                  <a:cs typeface="Calibri" panose="020F0502020204030204" pitchFamily="34" charset="0"/>
                </a:rPr>
                <a:t>j</a:t>
              </a:r>
              <a:r>
                <a:rPr kumimoji="0" lang="cs-CZ" sz="1467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an.polak@ipsos.com</a:t>
              </a:r>
              <a:endPara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405A9C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grpSp>
          <p:nvGrpSpPr>
            <p:cNvPr id="37" name="Group 58">
              <a:extLst>
                <a:ext uri="{FF2B5EF4-FFF2-40B4-BE49-F238E27FC236}">
                  <a16:creationId xmlns:a16="http://schemas.microsoft.com/office/drawing/2014/main" id="{DC560E0A-0B76-4A6E-B5C5-86CCBAD89C0B}"/>
                </a:ext>
              </a:extLst>
            </p:cNvPr>
            <p:cNvGrpSpPr>
              <a:grpSpLocks noChangeAspect="1"/>
            </p:cNvGrpSpPr>
            <p:nvPr/>
          </p:nvGrpSpPr>
          <p:grpSpPr bwMode="black">
            <a:xfrm flipH="1">
              <a:off x="426159" y="4080815"/>
              <a:ext cx="169056" cy="198251"/>
              <a:chOff x="8553450" y="4149725"/>
              <a:chExt cx="790575" cy="927100"/>
            </a:xfrm>
            <a:solidFill>
              <a:srgbClr val="405A9C"/>
            </a:solidFill>
          </p:grpSpPr>
          <p:sp>
            <p:nvSpPr>
              <p:cNvPr id="38" name="Freeform 58">
                <a:extLst>
                  <a:ext uri="{FF2B5EF4-FFF2-40B4-BE49-F238E27FC236}">
                    <a16:creationId xmlns:a16="http://schemas.microsoft.com/office/drawing/2014/main" id="{0A767A28-BE2B-4479-BBF2-A0CBDC016DFF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8747125" y="4187825"/>
                <a:ext cx="596900" cy="860425"/>
              </a:xfrm>
              <a:custGeom>
                <a:avLst/>
                <a:gdLst/>
                <a:ahLst/>
                <a:cxnLst>
                  <a:cxn ang="0">
                    <a:pos x="370" y="60"/>
                  </a:cxn>
                  <a:cxn ang="0">
                    <a:pos x="306" y="10"/>
                  </a:cxn>
                  <a:cxn ang="0">
                    <a:pos x="290" y="0"/>
                  </a:cxn>
                  <a:cxn ang="0">
                    <a:pos x="240" y="106"/>
                  </a:cxn>
                  <a:cxn ang="0">
                    <a:pos x="240" y="106"/>
                  </a:cxn>
                  <a:cxn ang="0">
                    <a:pos x="240" y="118"/>
                  </a:cxn>
                  <a:cxn ang="0">
                    <a:pos x="240" y="124"/>
                  </a:cxn>
                  <a:cxn ang="0">
                    <a:pos x="236" y="128"/>
                  </a:cxn>
                  <a:cxn ang="0">
                    <a:pos x="162" y="260"/>
                  </a:cxn>
                  <a:cxn ang="0">
                    <a:pos x="160" y="260"/>
                  </a:cxn>
                  <a:cxn ang="0">
                    <a:pos x="86" y="392"/>
                  </a:cxn>
                  <a:cxn ang="0">
                    <a:pos x="86" y="392"/>
                  </a:cxn>
                  <a:cxn ang="0">
                    <a:pos x="82" y="398"/>
                  </a:cxn>
                  <a:cxn ang="0">
                    <a:pos x="78" y="400"/>
                  </a:cxn>
                  <a:cxn ang="0">
                    <a:pos x="68" y="406"/>
                  </a:cxn>
                  <a:cxn ang="0">
                    <a:pos x="0" y="504"/>
                  </a:cxn>
                  <a:cxn ang="0">
                    <a:pos x="18" y="512"/>
                  </a:cxn>
                  <a:cxn ang="0">
                    <a:pos x="94" y="542"/>
                  </a:cxn>
                  <a:cxn ang="0">
                    <a:pos x="94" y="542"/>
                  </a:cxn>
                  <a:cxn ang="0">
                    <a:pos x="98" y="542"/>
                  </a:cxn>
                  <a:cxn ang="0">
                    <a:pos x="104" y="542"/>
                  </a:cxn>
                  <a:cxn ang="0">
                    <a:pos x="110" y="540"/>
                  </a:cxn>
                  <a:cxn ang="0">
                    <a:pos x="116" y="536"/>
                  </a:cxn>
                  <a:cxn ang="0">
                    <a:pos x="126" y="524"/>
                  </a:cxn>
                  <a:cxn ang="0">
                    <a:pos x="136" y="510"/>
                  </a:cxn>
                  <a:cxn ang="0">
                    <a:pos x="220" y="372"/>
                  </a:cxn>
                  <a:cxn ang="0">
                    <a:pos x="252" y="314"/>
                  </a:cxn>
                  <a:cxn ang="0">
                    <a:pos x="254" y="314"/>
                  </a:cxn>
                  <a:cxn ang="0">
                    <a:pos x="286" y="256"/>
                  </a:cxn>
                  <a:cxn ang="0">
                    <a:pos x="364" y="114"/>
                  </a:cxn>
                  <a:cxn ang="0">
                    <a:pos x="364" y="114"/>
                  </a:cxn>
                  <a:cxn ang="0">
                    <a:pos x="370" y="98"/>
                  </a:cxn>
                  <a:cxn ang="0">
                    <a:pos x="376" y="84"/>
                  </a:cxn>
                  <a:cxn ang="0">
                    <a:pos x="376" y="76"/>
                  </a:cxn>
                  <a:cxn ang="0">
                    <a:pos x="376" y="70"/>
                  </a:cxn>
                  <a:cxn ang="0">
                    <a:pos x="374" y="66"/>
                  </a:cxn>
                  <a:cxn ang="0">
                    <a:pos x="370" y="60"/>
                  </a:cxn>
                  <a:cxn ang="0">
                    <a:pos x="370" y="60"/>
                  </a:cxn>
                </a:cxnLst>
                <a:rect l="0" t="0" r="r" b="b"/>
                <a:pathLst>
                  <a:path w="376" h="542">
                    <a:moveTo>
                      <a:pt x="370" y="60"/>
                    </a:moveTo>
                    <a:lnTo>
                      <a:pt x="306" y="10"/>
                    </a:lnTo>
                    <a:lnTo>
                      <a:pt x="290" y="0"/>
                    </a:lnTo>
                    <a:lnTo>
                      <a:pt x="240" y="106"/>
                    </a:lnTo>
                    <a:lnTo>
                      <a:pt x="240" y="106"/>
                    </a:lnTo>
                    <a:lnTo>
                      <a:pt x="240" y="118"/>
                    </a:lnTo>
                    <a:lnTo>
                      <a:pt x="240" y="124"/>
                    </a:lnTo>
                    <a:lnTo>
                      <a:pt x="236" y="128"/>
                    </a:lnTo>
                    <a:lnTo>
                      <a:pt x="162" y="260"/>
                    </a:lnTo>
                    <a:lnTo>
                      <a:pt x="160" y="260"/>
                    </a:lnTo>
                    <a:lnTo>
                      <a:pt x="86" y="392"/>
                    </a:lnTo>
                    <a:lnTo>
                      <a:pt x="86" y="392"/>
                    </a:lnTo>
                    <a:lnTo>
                      <a:pt x="82" y="398"/>
                    </a:lnTo>
                    <a:lnTo>
                      <a:pt x="78" y="400"/>
                    </a:lnTo>
                    <a:lnTo>
                      <a:pt x="68" y="406"/>
                    </a:lnTo>
                    <a:lnTo>
                      <a:pt x="0" y="504"/>
                    </a:lnTo>
                    <a:lnTo>
                      <a:pt x="18" y="512"/>
                    </a:lnTo>
                    <a:lnTo>
                      <a:pt x="94" y="542"/>
                    </a:lnTo>
                    <a:lnTo>
                      <a:pt x="94" y="542"/>
                    </a:lnTo>
                    <a:lnTo>
                      <a:pt x="98" y="542"/>
                    </a:lnTo>
                    <a:lnTo>
                      <a:pt x="104" y="542"/>
                    </a:lnTo>
                    <a:lnTo>
                      <a:pt x="110" y="540"/>
                    </a:lnTo>
                    <a:lnTo>
                      <a:pt x="116" y="536"/>
                    </a:lnTo>
                    <a:lnTo>
                      <a:pt x="126" y="524"/>
                    </a:lnTo>
                    <a:lnTo>
                      <a:pt x="136" y="510"/>
                    </a:lnTo>
                    <a:lnTo>
                      <a:pt x="220" y="372"/>
                    </a:lnTo>
                    <a:lnTo>
                      <a:pt x="252" y="314"/>
                    </a:lnTo>
                    <a:lnTo>
                      <a:pt x="254" y="314"/>
                    </a:lnTo>
                    <a:lnTo>
                      <a:pt x="286" y="256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70" y="98"/>
                    </a:lnTo>
                    <a:lnTo>
                      <a:pt x="376" y="84"/>
                    </a:lnTo>
                    <a:lnTo>
                      <a:pt x="376" y="76"/>
                    </a:lnTo>
                    <a:lnTo>
                      <a:pt x="376" y="70"/>
                    </a:lnTo>
                    <a:lnTo>
                      <a:pt x="374" y="66"/>
                    </a:lnTo>
                    <a:lnTo>
                      <a:pt x="370" y="60"/>
                    </a:lnTo>
                    <a:lnTo>
                      <a:pt x="370" y="6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39" name="Freeform 59">
                <a:extLst>
                  <a:ext uri="{FF2B5EF4-FFF2-40B4-BE49-F238E27FC236}">
                    <a16:creationId xmlns:a16="http://schemas.microsoft.com/office/drawing/2014/main" id="{512C51D7-D880-4F7B-A27D-33FECE144874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8677275" y="4787900"/>
                <a:ext cx="161925" cy="190500"/>
              </a:xfrm>
              <a:custGeom>
                <a:avLst/>
                <a:gdLst/>
                <a:ahLst/>
                <a:cxnLst>
                  <a:cxn ang="0">
                    <a:pos x="48" y="6"/>
                  </a:cxn>
                  <a:cxn ang="0">
                    <a:pos x="38" y="22"/>
                  </a:cxn>
                  <a:cxn ang="0">
                    <a:pos x="38" y="22"/>
                  </a:cxn>
                  <a:cxn ang="0">
                    <a:pos x="34" y="34"/>
                  </a:cxn>
                  <a:cxn ang="0">
                    <a:pos x="28" y="48"/>
                  </a:cxn>
                  <a:cxn ang="0">
                    <a:pos x="28" y="48"/>
                  </a:cxn>
                  <a:cxn ang="0">
                    <a:pos x="20" y="58"/>
                  </a:cxn>
                  <a:cxn ang="0">
                    <a:pos x="12" y="68"/>
                  </a:cxn>
                  <a:cxn ang="0">
                    <a:pos x="2" y="84"/>
                  </a:cxn>
                  <a:cxn ang="0">
                    <a:pos x="2" y="84"/>
                  </a:cxn>
                  <a:cxn ang="0">
                    <a:pos x="0" y="90"/>
                  </a:cxn>
                  <a:cxn ang="0">
                    <a:pos x="0" y="94"/>
                  </a:cxn>
                  <a:cxn ang="0">
                    <a:pos x="4" y="100"/>
                  </a:cxn>
                  <a:cxn ang="0">
                    <a:pos x="8" y="104"/>
                  </a:cxn>
                  <a:cxn ang="0">
                    <a:pos x="34" y="120"/>
                  </a:cxn>
                  <a:cxn ang="0">
                    <a:pos x="102" y="22"/>
                  </a:cxn>
                  <a:cxn ang="0">
                    <a:pos x="66" y="2"/>
                  </a:cxn>
                  <a:cxn ang="0">
                    <a:pos x="66" y="2"/>
                  </a:cxn>
                  <a:cxn ang="0">
                    <a:pos x="60" y="0"/>
                  </a:cxn>
                  <a:cxn ang="0">
                    <a:pos x="56" y="0"/>
                  </a:cxn>
                  <a:cxn ang="0">
                    <a:pos x="50" y="2"/>
                  </a:cxn>
                  <a:cxn ang="0">
                    <a:pos x="48" y="6"/>
                  </a:cxn>
                  <a:cxn ang="0">
                    <a:pos x="48" y="6"/>
                  </a:cxn>
                </a:cxnLst>
                <a:rect l="0" t="0" r="r" b="b"/>
                <a:pathLst>
                  <a:path w="102" h="120">
                    <a:moveTo>
                      <a:pt x="48" y="6"/>
                    </a:moveTo>
                    <a:lnTo>
                      <a:pt x="38" y="22"/>
                    </a:lnTo>
                    <a:lnTo>
                      <a:pt x="38" y="22"/>
                    </a:lnTo>
                    <a:lnTo>
                      <a:pt x="34" y="3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0" y="58"/>
                    </a:lnTo>
                    <a:lnTo>
                      <a:pt x="12" y="68"/>
                    </a:lnTo>
                    <a:lnTo>
                      <a:pt x="2" y="84"/>
                    </a:lnTo>
                    <a:lnTo>
                      <a:pt x="2" y="84"/>
                    </a:lnTo>
                    <a:lnTo>
                      <a:pt x="0" y="90"/>
                    </a:lnTo>
                    <a:lnTo>
                      <a:pt x="0" y="94"/>
                    </a:lnTo>
                    <a:lnTo>
                      <a:pt x="4" y="100"/>
                    </a:lnTo>
                    <a:lnTo>
                      <a:pt x="8" y="104"/>
                    </a:lnTo>
                    <a:lnTo>
                      <a:pt x="34" y="120"/>
                    </a:lnTo>
                    <a:lnTo>
                      <a:pt x="102" y="22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0" y="2"/>
                    </a:lnTo>
                    <a:lnTo>
                      <a:pt x="48" y="6"/>
                    </a:lnTo>
                    <a:lnTo>
                      <a:pt x="4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0" name="Freeform 60">
                <a:extLst>
                  <a:ext uri="{FF2B5EF4-FFF2-40B4-BE49-F238E27FC236}">
                    <a16:creationId xmlns:a16="http://schemas.microsoft.com/office/drawing/2014/main" id="{4A4CAB15-000B-40B5-9A6B-C82D0567B8FA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9042400" y="4149725"/>
                <a:ext cx="149225" cy="200025"/>
              </a:xfrm>
              <a:custGeom>
                <a:avLst/>
                <a:gdLst/>
                <a:ahLst/>
                <a:cxnLst>
                  <a:cxn ang="0">
                    <a:pos x="8" y="104"/>
                  </a:cxn>
                  <a:cxn ang="0">
                    <a:pos x="44" y="126"/>
                  </a:cxn>
                  <a:cxn ang="0">
                    <a:pos x="94" y="18"/>
                  </a:cxn>
                  <a:cxn ang="0">
                    <a:pos x="66" y="2"/>
                  </a:cxn>
                  <a:cxn ang="0">
                    <a:pos x="66" y="2"/>
                  </a:cxn>
                  <a:cxn ang="0">
                    <a:pos x="62" y="0"/>
                  </a:cxn>
                  <a:cxn ang="0">
                    <a:pos x="56" y="0"/>
                  </a:cxn>
                  <a:cxn ang="0">
                    <a:pos x="50" y="2"/>
                  </a:cxn>
                  <a:cxn ang="0">
                    <a:pos x="48" y="6"/>
                  </a:cxn>
                  <a:cxn ang="0">
                    <a:pos x="40" y="20"/>
                  </a:cxn>
                  <a:cxn ang="0">
                    <a:pos x="40" y="20"/>
                  </a:cxn>
                  <a:cxn ang="0">
                    <a:pos x="36" y="34"/>
                  </a:cxn>
                  <a:cxn ang="0">
                    <a:pos x="28" y="48"/>
                  </a:cxn>
                  <a:cxn ang="0">
                    <a:pos x="28" y="48"/>
                  </a:cxn>
                  <a:cxn ang="0">
                    <a:pos x="20" y="62"/>
                  </a:cxn>
                  <a:cxn ang="0">
                    <a:pos x="10" y="72"/>
                  </a:cxn>
                  <a:cxn ang="0">
                    <a:pos x="2" y="86"/>
                  </a:cxn>
                  <a:cxn ang="0">
                    <a:pos x="2" y="86"/>
                  </a:cxn>
                  <a:cxn ang="0">
                    <a:pos x="0" y="90"/>
                  </a:cxn>
                  <a:cxn ang="0">
                    <a:pos x="0" y="96"/>
                  </a:cxn>
                  <a:cxn ang="0">
                    <a:pos x="4" y="100"/>
                  </a:cxn>
                  <a:cxn ang="0">
                    <a:pos x="8" y="104"/>
                  </a:cxn>
                  <a:cxn ang="0">
                    <a:pos x="8" y="104"/>
                  </a:cxn>
                </a:cxnLst>
                <a:rect l="0" t="0" r="r" b="b"/>
                <a:pathLst>
                  <a:path w="94" h="126">
                    <a:moveTo>
                      <a:pt x="8" y="104"/>
                    </a:moveTo>
                    <a:lnTo>
                      <a:pt x="44" y="126"/>
                    </a:lnTo>
                    <a:lnTo>
                      <a:pt x="94" y="18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2" y="0"/>
                    </a:lnTo>
                    <a:lnTo>
                      <a:pt x="56" y="0"/>
                    </a:lnTo>
                    <a:lnTo>
                      <a:pt x="50" y="2"/>
                    </a:lnTo>
                    <a:lnTo>
                      <a:pt x="48" y="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6" y="3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0" y="62"/>
                    </a:lnTo>
                    <a:lnTo>
                      <a:pt x="10" y="72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0" y="90"/>
                    </a:lnTo>
                    <a:lnTo>
                      <a:pt x="0" y="96"/>
                    </a:lnTo>
                    <a:lnTo>
                      <a:pt x="4" y="100"/>
                    </a:lnTo>
                    <a:lnTo>
                      <a:pt x="8" y="104"/>
                    </a:lnTo>
                    <a:lnTo>
                      <a:pt x="8" y="10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1" name="Freeform 61">
                <a:extLst>
                  <a:ext uri="{FF2B5EF4-FFF2-40B4-BE49-F238E27FC236}">
                    <a16:creationId xmlns:a16="http://schemas.microsoft.com/office/drawing/2014/main" id="{02844166-44D7-4F63-9FD4-E7AE52014235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8553450" y="4416425"/>
                <a:ext cx="288925" cy="660400"/>
              </a:xfrm>
              <a:custGeom>
                <a:avLst/>
                <a:gdLst/>
                <a:ahLst/>
                <a:cxnLst>
                  <a:cxn ang="0">
                    <a:pos x="38" y="16"/>
                  </a:cxn>
                  <a:cxn ang="0">
                    <a:pos x="68" y="10"/>
                  </a:cxn>
                  <a:cxn ang="0">
                    <a:pos x="114" y="8"/>
                  </a:cxn>
                  <a:cxn ang="0">
                    <a:pos x="144" y="14"/>
                  </a:cxn>
                  <a:cxn ang="0">
                    <a:pos x="158" y="32"/>
                  </a:cxn>
                  <a:cxn ang="0">
                    <a:pos x="160" y="56"/>
                  </a:cxn>
                  <a:cxn ang="0">
                    <a:pos x="150" y="86"/>
                  </a:cxn>
                  <a:cxn ang="0">
                    <a:pos x="124" y="138"/>
                  </a:cxn>
                  <a:cxn ang="0">
                    <a:pos x="48" y="258"/>
                  </a:cxn>
                  <a:cxn ang="0">
                    <a:pos x="10" y="332"/>
                  </a:cxn>
                  <a:cxn ang="0">
                    <a:pos x="2" y="362"/>
                  </a:cxn>
                  <a:cxn ang="0">
                    <a:pos x="2" y="388"/>
                  </a:cxn>
                  <a:cxn ang="0">
                    <a:pos x="16" y="406"/>
                  </a:cxn>
                  <a:cxn ang="0">
                    <a:pos x="46" y="414"/>
                  </a:cxn>
                  <a:cxn ang="0">
                    <a:pos x="60" y="416"/>
                  </a:cxn>
                  <a:cxn ang="0">
                    <a:pos x="118" y="410"/>
                  </a:cxn>
                  <a:cxn ang="0">
                    <a:pos x="140" y="404"/>
                  </a:cxn>
                  <a:cxn ang="0">
                    <a:pos x="146" y="392"/>
                  </a:cxn>
                  <a:cxn ang="0">
                    <a:pos x="112" y="400"/>
                  </a:cxn>
                  <a:cxn ang="0">
                    <a:pos x="64" y="404"/>
                  </a:cxn>
                  <a:cxn ang="0">
                    <a:pos x="36" y="394"/>
                  </a:cxn>
                  <a:cxn ang="0">
                    <a:pos x="28" y="386"/>
                  </a:cxn>
                  <a:cxn ang="0">
                    <a:pos x="26" y="360"/>
                  </a:cxn>
                  <a:cxn ang="0">
                    <a:pos x="36" y="328"/>
                  </a:cxn>
                  <a:cxn ang="0">
                    <a:pos x="54" y="290"/>
                  </a:cxn>
                  <a:cxn ang="0">
                    <a:pos x="108" y="202"/>
                  </a:cxn>
                  <a:cxn ang="0">
                    <a:pos x="158" y="114"/>
                  </a:cxn>
                  <a:cxn ang="0">
                    <a:pos x="176" y="76"/>
                  </a:cxn>
                  <a:cxn ang="0">
                    <a:pos x="182" y="42"/>
                  </a:cxn>
                  <a:cxn ang="0">
                    <a:pos x="176" y="18"/>
                  </a:cxn>
                  <a:cxn ang="0">
                    <a:pos x="166" y="8"/>
                  </a:cxn>
                  <a:cxn ang="0">
                    <a:pos x="132" y="0"/>
                  </a:cxn>
                  <a:cxn ang="0">
                    <a:pos x="78" y="2"/>
                  </a:cxn>
                  <a:cxn ang="0">
                    <a:pos x="40" y="10"/>
                  </a:cxn>
                </a:cxnLst>
                <a:rect l="0" t="0" r="r" b="b"/>
                <a:pathLst>
                  <a:path w="182" h="416">
                    <a:moveTo>
                      <a:pt x="40" y="10"/>
                    </a:moveTo>
                    <a:lnTo>
                      <a:pt x="38" y="16"/>
                    </a:lnTo>
                    <a:lnTo>
                      <a:pt x="38" y="16"/>
                    </a:lnTo>
                    <a:lnTo>
                      <a:pt x="68" y="10"/>
                    </a:lnTo>
                    <a:lnTo>
                      <a:pt x="94" y="8"/>
                    </a:lnTo>
                    <a:lnTo>
                      <a:pt x="114" y="8"/>
                    </a:lnTo>
                    <a:lnTo>
                      <a:pt x="132" y="10"/>
                    </a:lnTo>
                    <a:lnTo>
                      <a:pt x="144" y="14"/>
                    </a:lnTo>
                    <a:lnTo>
                      <a:pt x="152" y="22"/>
                    </a:lnTo>
                    <a:lnTo>
                      <a:pt x="158" y="32"/>
                    </a:lnTo>
                    <a:lnTo>
                      <a:pt x="160" y="42"/>
                    </a:lnTo>
                    <a:lnTo>
                      <a:pt x="160" y="56"/>
                    </a:lnTo>
                    <a:lnTo>
                      <a:pt x="156" y="70"/>
                    </a:lnTo>
                    <a:lnTo>
                      <a:pt x="150" y="86"/>
                    </a:lnTo>
                    <a:lnTo>
                      <a:pt x="142" y="102"/>
                    </a:lnTo>
                    <a:lnTo>
                      <a:pt x="124" y="138"/>
                    </a:lnTo>
                    <a:lnTo>
                      <a:pt x="100" y="178"/>
                    </a:lnTo>
                    <a:lnTo>
                      <a:pt x="48" y="258"/>
                    </a:lnTo>
                    <a:lnTo>
                      <a:pt x="26" y="296"/>
                    </a:lnTo>
                    <a:lnTo>
                      <a:pt x="10" y="332"/>
                    </a:lnTo>
                    <a:lnTo>
                      <a:pt x="4" y="348"/>
                    </a:lnTo>
                    <a:lnTo>
                      <a:pt x="2" y="362"/>
                    </a:lnTo>
                    <a:lnTo>
                      <a:pt x="0" y="376"/>
                    </a:lnTo>
                    <a:lnTo>
                      <a:pt x="2" y="388"/>
                    </a:lnTo>
                    <a:lnTo>
                      <a:pt x="8" y="398"/>
                    </a:lnTo>
                    <a:lnTo>
                      <a:pt x="16" y="406"/>
                    </a:lnTo>
                    <a:lnTo>
                      <a:pt x="28" y="412"/>
                    </a:lnTo>
                    <a:lnTo>
                      <a:pt x="46" y="414"/>
                    </a:lnTo>
                    <a:lnTo>
                      <a:pt x="46" y="414"/>
                    </a:lnTo>
                    <a:lnTo>
                      <a:pt x="60" y="416"/>
                    </a:lnTo>
                    <a:lnTo>
                      <a:pt x="78" y="414"/>
                    </a:lnTo>
                    <a:lnTo>
                      <a:pt x="118" y="410"/>
                    </a:lnTo>
                    <a:lnTo>
                      <a:pt x="118" y="410"/>
                    </a:lnTo>
                    <a:lnTo>
                      <a:pt x="140" y="404"/>
                    </a:lnTo>
                    <a:lnTo>
                      <a:pt x="164" y="398"/>
                    </a:lnTo>
                    <a:lnTo>
                      <a:pt x="146" y="392"/>
                    </a:lnTo>
                    <a:lnTo>
                      <a:pt x="146" y="392"/>
                    </a:lnTo>
                    <a:lnTo>
                      <a:pt x="112" y="400"/>
                    </a:lnTo>
                    <a:lnTo>
                      <a:pt x="86" y="402"/>
                    </a:lnTo>
                    <a:lnTo>
                      <a:pt x="64" y="404"/>
                    </a:lnTo>
                    <a:lnTo>
                      <a:pt x="48" y="400"/>
                    </a:lnTo>
                    <a:lnTo>
                      <a:pt x="36" y="394"/>
                    </a:lnTo>
                    <a:lnTo>
                      <a:pt x="32" y="390"/>
                    </a:lnTo>
                    <a:lnTo>
                      <a:pt x="28" y="386"/>
                    </a:lnTo>
                    <a:lnTo>
                      <a:pt x="26" y="374"/>
                    </a:lnTo>
                    <a:lnTo>
                      <a:pt x="26" y="360"/>
                    </a:lnTo>
                    <a:lnTo>
                      <a:pt x="30" y="346"/>
                    </a:lnTo>
                    <a:lnTo>
                      <a:pt x="36" y="328"/>
                    </a:lnTo>
                    <a:lnTo>
                      <a:pt x="44" y="310"/>
                    </a:lnTo>
                    <a:lnTo>
                      <a:pt x="54" y="290"/>
                    </a:lnTo>
                    <a:lnTo>
                      <a:pt x="80" y="246"/>
                    </a:lnTo>
                    <a:lnTo>
                      <a:pt x="108" y="202"/>
                    </a:lnTo>
                    <a:lnTo>
                      <a:pt x="134" y="158"/>
                    </a:lnTo>
                    <a:lnTo>
                      <a:pt x="158" y="114"/>
                    </a:lnTo>
                    <a:lnTo>
                      <a:pt x="168" y="94"/>
                    </a:lnTo>
                    <a:lnTo>
                      <a:pt x="176" y="76"/>
                    </a:lnTo>
                    <a:lnTo>
                      <a:pt x="180" y="58"/>
                    </a:lnTo>
                    <a:lnTo>
                      <a:pt x="182" y="42"/>
                    </a:lnTo>
                    <a:lnTo>
                      <a:pt x="180" y="30"/>
                    </a:lnTo>
                    <a:lnTo>
                      <a:pt x="176" y="18"/>
                    </a:lnTo>
                    <a:lnTo>
                      <a:pt x="170" y="12"/>
                    </a:lnTo>
                    <a:lnTo>
                      <a:pt x="166" y="8"/>
                    </a:lnTo>
                    <a:lnTo>
                      <a:pt x="152" y="2"/>
                    </a:lnTo>
                    <a:lnTo>
                      <a:pt x="132" y="0"/>
                    </a:lnTo>
                    <a:lnTo>
                      <a:pt x="108" y="0"/>
                    </a:lnTo>
                    <a:lnTo>
                      <a:pt x="78" y="2"/>
                    </a:lnTo>
                    <a:lnTo>
                      <a:pt x="40" y="10"/>
                    </a:lnTo>
                    <a:lnTo>
                      <a:pt x="40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42" name="TextBox 69">
              <a:extLst>
                <a:ext uri="{FF2B5EF4-FFF2-40B4-BE49-F238E27FC236}">
                  <a16:creationId xmlns:a16="http://schemas.microsoft.com/office/drawing/2014/main" id="{CAA9AB96-8464-45B7-A272-AE2547F45A97}"/>
                </a:ext>
              </a:extLst>
            </p:cNvPr>
            <p:cNvSpPr txBox="1"/>
            <p:nvPr/>
          </p:nvSpPr>
          <p:spPr bwMode="black">
            <a:xfrm>
              <a:off x="751472" y="4067089"/>
              <a:ext cx="1526059" cy="22576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pPr marL="6351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420 </a:t>
              </a:r>
              <a:r>
                <a:rPr lang="cs-CZ" sz="1467" dirty="0">
                  <a:solidFill>
                    <a:srgbClr val="405A9C"/>
                  </a:solidFill>
                  <a:cs typeface="Calibri" panose="020F0502020204030204" pitchFamily="34" charset="0"/>
                </a:rPr>
                <a:t>603</a:t>
              </a:r>
              <a:r>
                <a:rPr kumimoji="0" lang="cs-CZ" sz="1467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 532 920</a:t>
              </a:r>
              <a:endPara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405A9C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grpSp>
        <p:nvGrpSpPr>
          <p:cNvPr id="56" name="Skupina 55">
            <a:extLst>
              <a:ext uri="{FF2B5EF4-FFF2-40B4-BE49-F238E27FC236}">
                <a16:creationId xmlns:a16="http://schemas.microsoft.com/office/drawing/2014/main" id="{9616EB3D-AB7B-42B3-93AD-0F68C84BB3D2}"/>
              </a:ext>
            </a:extLst>
          </p:cNvPr>
          <p:cNvGrpSpPr/>
          <p:nvPr/>
        </p:nvGrpSpPr>
        <p:grpSpPr>
          <a:xfrm>
            <a:off x="4897210" y="4410185"/>
            <a:ext cx="2295971" cy="521293"/>
            <a:chOff x="4547235" y="3771563"/>
            <a:chExt cx="2295971" cy="521293"/>
          </a:xfrm>
        </p:grpSpPr>
        <p:grpSp>
          <p:nvGrpSpPr>
            <p:cNvPr id="43" name="Group 153">
              <a:extLst>
                <a:ext uri="{FF2B5EF4-FFF2-40B4-BE49-F238E27FC236}">
                  <a16:creationId xmlns:a16="http://schemas.microsoft.com/office/drawing/2014/main" id="{2C3B989F-127C-46F4-8B0B-D89A423F578F}"/>
                </a:ext>
              </a:extLst>
            </p:cNvPr>
            <p:cNvGrpSpPr>
              <a:grpSpLocks noChangeAspect="1"/>
            </p:cNvGrpSpPr>
            <p:nvPr/>
          </p:nvGrpSpPr>
          <p:grpSpPr bwMode="black">
            <a:xfrm>
              <a:off x="4547235" y="3843283"/>
              <a:ext cx="179279" cy="119520"/>
              <a:chOff x="-6357938" y="3122613"/>
              <a:chExt cx="1104900" cy="736600"/>
            </a:xfrm>
            <a:solidFill>
              <a:srgbClr val="009D9C"/>
            </a:solidFill>
          </p:grpSpPr>
          <p:sp>
            <p:nvSpPr>
              <p:cNvPr id="44" name="Freeform 7">
                <a:extLst>
                  <a:ext uri="{FF2B5EF4-FFF2-40B4-BE49-F238E27FC236}">
                    <a16:creationId xmlns:a16="http://schemas.microsoft.com/office/drawing/2014/main" id="{1C6F76F1-AED2-4355-92A6-EB1A137FACC4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-6319838" y="3122613"/>
                <a:ext cx="1028700" cy="431800"/>
              </a:xfrm>
              <a:custGeom>
                <a:avLst/>
                <a:gdLst/>
                <a:ahLst/>
                <a:cxnLst>
                  <a:cxn ang="0">
                    <a:pos x="324" y="272"/>
                  </a:cxn>
                  <a:cxn ang="0">
                    <a:pos x="648" y="0"/>
                  </a:cxn>
                  <a:cxn ang="0">
                    <a:pos x="648" y="0"/>
                  </a:cxn>
                  <a:cxn ang="0">
                    <a:pos x="64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324" y="272"/>
                  </a:cxn>
                </a:cxnLst>
                <a:rect l="0" t="0" r="r" b="b"/>
                <a:pathLst>
                  <a:path w="648" h="272">
                    <a:moveTo>
                      <a:pt x="324" y="272"/>
                    </a:moveTo>
                    <a:lnTo>
                      <a:pt x="648" y="0"/>
                    </a:lnTo>
                    <a:lnTo>
                      <a:pt x="648" y="0"/>
                    </a:lnTo>
                    <a:lnTo>
                      <a:pt x="64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324" y="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5" name="Freeform 8">
                <a:extLst>
                  <a:ext uri="{FF2B5EF4-FFF2-40B4-BE49-F238E27FC236}">
                    <a16:creationId xmlns:a16="http://schemas.microsoft.com/office/drawing/2014/main" id="{00CC3AC9-E654-4072-B36D-DA4D3BF534C3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-5621338" y="3154363"/>
                <a:ext cx="368300" cy="669925"/>
              </a:xfrm>
              <a:custGeom>
                <a:avLst/>
                <a:gdLst/>
                <a:ahLst/>
                <a:cxnLst>
                  <a:cxn ang="0">
                    <a:pos x="232" y="8"/>
                  </a:cxn>
                  <a:cxn ang="0">
                    <a:pos x="232" y="8"/>
                  </a:cxn>
                  <a:cxn ang="0">
                    <a:pos x="230" y="0"/>
                  </a:cxn>
                  <a:cxn ang="0">
                    <a:pos x="0" y="192"/>
                  </a:cxn>
                  <a:cxn ang="0">
                    <a:pos x="230" y="422"/>
                  </a:cxn>
                  <a:cxn ang="0">
                    <a:pos x="230" y="422"/>
                  </a:cxn>
                  <a:cxn ang="0">
                    <a:pos x="232" y="416"/>
                  </a:cxn>
                  <a:cxn ang="0">
                    <a:pos x="232" y="8"/>
                  </a:cxn>
                </a:cxnLst>
                <a:rect l="0" t="0" r="r" b="b"/>
                <a:pathLst>
                  <a:path w="232" h="422">
                    <a:moveTo>
                      <a:pt x="232" y="8"/>
                    </a:moveTo>
                    <a:lnTo>
                      <a:pt x="232" y="8"/>
                    </a:lnTo>
                    <a:lnTo>
                      <a:pt x="230" y="0"/>
                    </a:lnTo>
                    <a:lnTo>
                      <a:pt x="0" y="192"/>
                    </a:lnTo>
                    <a:lnTo>
                      <a:pt x="230" y="422"/>
                    </a:lnTo>
                    <a:lnTo>
                      <a:pt x="230" y="422"/>
                    </a:lnTo>
                    <a:lnTo>
                      <a:pt x="232" y="416"/>
                    </a:lnTo>
                    <a:lnTo>
                      <a:pt x="23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6" name="Freeform 9">
                <a:extLst>
                  <a:ext uri="{FF2B5EF4-FFF2-40B4-BE49-F238E27FC236}">
                    <a16:creationId xmlns:a16="http://schemas.microsoft.com/office/drawing/2014/main" id="{B697F799-98DB-4A89-849F-F29417095AD1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-6357938" y="3154363"/>
                <a:ext cx="368300" cy="6699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8"/>
                  </a:cxn>
                  <a:cxn ang="0">
                    <a:pos x="0" y="416"/>
                  </a:cxn>
                  <a:cxn ang="0">
                    <a:pos x="0" y="416"/>
                  </a:cxn>
                  <a:cxn ang="0">
                    <a:pos x="2" y="422"/>
                  </a:cxn>
                  <a:cxn ang="0">
                    <a:pos x="232" y="192"/>
                  </a:cxn>
                  <a:cxn ang="0">
                    <a:pos x="2" y="0"/>
                  </a:cxn>
                </a:cxnLst>
                <a:rect l="0" t="0" r="r" b="b"/>
                <a:pathLst>
                  <a:path w="232" h="422">
                    <a:moveTo>
                      <a:pt x="2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0" y="416"/>
                    </a:lnTo>
                    <a:lnTo>
                      <a:pt x="0" y="416"/>
                    </a:lnTo>
                    <a:lnTo>
                      <a:pt x="2" y="422"/>
                    </a:lnTo>
                    <a:lnTo>
                      <a:pt x="232" y="19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47" name="Freeform 10">
                <a:extLst>
                  <a:ext uri="{FF2B5EF4-FFF2-40B4-BE49-F238E27FC236}">
                    <a16:creationId xmlns:a16="http://schemas.microsoft.com/office/drawing/2014/main" id="{ABF10DF0-E306-406C-ACC3-B8F04AF22273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-6323013" y="3487738"/>
                <a:ext cx="1035050" cy="371475"/>
              </a:xfrm>
              <a:custGeom>
                <a:avLst/>
                <a:gdLst/>
                <a:ahLst/>
                <a:cxnLst>
                  <a:cxn ang="0">
                    <a:pos x="420" y="0"/>
                  </a:cxn>
                  <a:cxn ang="0">
                    <a:pos x="336" y="72"/>
                  </a:cxn>
                  <a:cxn ang="0">
                    <a:pos x="336" y="72"/>
                  </a:cxn>
                  <a:cxn ang="0">
                    <a:pos x="330" y="74"/>
                  </a:cxn>
                  <a:cxn ang="0">
                    <a:pos x="326" y="74"/>
                  </a:cxn>
                  <a:cxn ang="0">
                    <a:pos x="326" y="74"/>
                  </a:cxn>
                  <a:cxn ang="0">
                    <a:pos x="322" y="74"/>
                  </a:cxn>
                  <a:cxn ang="0">
                    <a:pos x="316" y="72"/>
                  </a:cxn>
                  <a:cxn ang="0">
                    <a:pos x="232" y="0"/>
                  </a:cxn>
                  <a:cxn ang="0">
                    <a:pos x="0" y="232"/>
                  </a:cxn>
                  <a:cxn ang="0">
                    <a:pos x="0" y="232"/>
                  </a:cxn>
                  <a:cxn ang="0">
                    <a:pos x="6" y="234"/>
                  </a:cxn>
                  <a:cxn ang="0">
                    <a:pos x="646" y="234"/>
                  </a:cxn>
                  <a:cxn ang="0">
                    <a:pos x="646" y="234"/>
                  </a:cxn>
                  <a:cxn ang="0">
                    <a:pos x="652" y="232"/>
                  </a:cxn>
                  <a:cxn ang="0">
                    <a:pos x="420" y="0"/>
                  </a:cxn>
                </a:cxnLst>
                <a:rect l="0" t="0" r="r" b="b"/>
                <a:pathLst>
                  <a:path w="652" h="234">
                    <a:moveTo>
                      <a:pt x="420" y="0"/>
                    </a:moveTo>
                    <a:lnTo>
                      <a:pt x="336" y="72"/>
                    </a:lnTo>
                    <a:lnTo>
                      <a:pt x="336" y="72"/>
                    </a:lnTo>
                    <a:lnTo>
                      <a:pt x="330" y="74"/>
                    </a:lnTo>
                    <a:lnTo>
                      <a:pt x="326" y="74"/>
                    </a:lnTo>
                    <a:lnTo>
                      <a:pt x="326" y="74"/>
                    </a:lnTo>
                    <a:lnTo>
                      <a:pt x="322" y="74"/>
                    </a:lnTo>
                    <a:lnTo>
                      <a:pt x="316" y="72"/>
                    </a:lnTo>
                    <a:lnTo>
                      <a:pt x="232" y="0"/>
                    </a:lnTo>
                    <a:lnTo>
                      <a:pt x="0" y="232"/>
                    </a:lnTo>
                    <a:lnTo>
                      <a:pt x="0" y="232"/>
                    </a:lnTo>
                    <a:lnTo>
                      <a:pt x="6" y="234"/>
                    </a:lnTo>
                    <a:lnTo>
                      <a:pt x="646" y="234"/>
                    </a:lnTo>
                    <a:lnTo>
                      <a:pt x="646" y="234"/>
                    </a:lnTo>
                    <a:lnTo>
                      <a:pt x="652" y="232"/>
                    </a:lnTo>
                    <a:lnTo>
                      <a:pt x="4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48" name="TextBox 68">
              <a:extLst>
                <a:ext uri="{FF2B5EF4-FFF2-40B4-BE49-F238E27FC236}">
                  <a16:creationId xmlns:a16="http://schemas.microsoft.com/office/drawing/2014/main" id="{13250A8B-DCFD-4F89-96B7-42A50DE9E267}"/>
                </a:ext>
              </a:extLst>
            </p:cNvPr>
            <p:cNvSpPr txBox="1"/>
            <p:nvPr/>
          </p:nvSpPr>
          <p:spPr bwMode="black">
            <a:xfrm>
              <a:off x="4879527" y="3771563"/>
              <a:ext cx="1963679" cy="22576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pPr marL="6351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467" dirty="0">
                  <a:solidFill>
                    <a:srgbClr val="405A9C"/>
                  </a:solidFill>
                  <a:cs typeface="Calibri" panose="020F0502020204030204" pitchFamily="34" charset="0"/>
                </a:rPr>
                <a:t>jan.humhej</a:t>
              </a:r>
              <a:r>
                <a:rPr kumimoji="0" 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@ipsos.com</a:t>
              </a:r>
            </a:p>
          </p:txBody>
        </p:sp>
        <p:grpSp>
          <p:nvGrpSpPr>
            <p:cNvPr id="49" name="Group 58">
              <a:extLst>
                <a:ext uri="{FF2B5EF4-FFF2-40B4-BE49-F238E27FC236}">
                  <a16:creationId xmlns:a16="http://schemas.microsoft.com/office/drawing/2014/main" id="{8114D299-DF58-4B98-BFB8-A271F1F358F9}"/>
                </a:ext>
              </a:extLst>
            </p:cNvPr>
            <p:cNvGrpSpPr>
              <a:grpSpLocks noChangeAspect="1"/>
            </p:cNvGrpSpPr>
            <p:nvPr/>
          </p:nvGrpSpPr>
          <p:grpSpPr bwMode="black">
            <a:xfrm flipH="1">
              <a:off x="4554215" y="4080815"/>
              <a:ext cx="169056" cy="198251"/>
              <a:chOff x="8553450" y="4149725"/>
              <a:chExt cx="790575" cy="927100"/>
            </a:xfrm>
            <a:solidFill>
              <a:srgbClr val="009D9C"/>
            </a:solidFill>
          </p:grpSpPr>
          <p:sp>
            <p:nvSpPr>
              <p:cNvPr id="50" name="Freeform 58">
                <a:extLst>
                  <a:ext uri="{FF2B5EF4-FFF2-40B4-BE49-F238E27FC236}">
                    <a16:creationId xmlns:a16="http://schemas.microsoft.com/office/drawing/2014/main" id="{365A692B-54B4-4EF9-859F-434236FA66C0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8747125" y="4187825"/>
                <a:ext cx="596900" cy="860425"/>
              </a:xfrm>
              <a:custGeom>
                <a:avLst/>
                <a:gdLst/>
                <a:ahLst/>
                <a:cxnLst>
                  <a:cxn ang="0">
                    <a:pos x="370" y="60"/>
                  </a:cxn>
                  <a:cxn ang="0">
                    <a:pos x="306" y="10"/>
                  </a:cxn>
                  <a:cxn ang="0">
                    <a:pos x="290" y="0"/>
                  </a:cxn>
                  <a:cxn ang="0">
                    <a:pos x="240" y="106"/>
                  </a:cxn>
                  <a:cxn ang="0">
                    <a:pos x="240" y="106"/>
                  </a:cxn>
                  <a:cxn ang="0">
                    <a:pos x="240" y="118"/>
                  </a:cxn>
                  <a:cxn ang="0">
                    <a:pos x="240" y="124"/>
                  </a:cxn>
                  <a:cxn ang="0">
                    <a:pos x="236" y="128"/>
                  </a:cxn>
                  <a:cxn ang="0">
                    <a:pos x="162" y="260"/>
                  </a:cxn>
                  <a:cxn ang="0">
                    <a:pos x="160" y="260"/>
                  </a:cxn>
                  <a:cxn ang="0">
                    <a:pos x="86" y="392"/>
                  </a:cxn>
                  <a:cxn ang="0">
                    <a:pos x="86" y="392"/>
                  </a:cxn>
                  <a:cxn ang="0">
                    <a:pos x="82" y="398"/>
                  </a:cxn>
                  <a:cxn ang="0">
                    <a:pos x="78" y="400"/>
                  </a:cxn>
                  <a:cxn ang="0">
                    <a:pos x="68" y="406"/>
                  </a:cxn>
                  <a:cxn ang="0">
                    <a:pos x="0" y="504"/>
                  </a:cxn>
                  <a:cxn ang="0">
                    <a:pos x="18" y="512"/>
                  </a:cxn>
                  <a:cxn ang="0">
                    <a:pos x="94" y="542"/>
                  </a:cxn>
                  <a:cxn ang="0">
                    <a:pos x="94" y="542"/>
                  </a:cxn>
                  <a:cxn ang="0">
                    <a:pos x="98" y="542"/>
                  </a:cxn>
                  <a:cxn ang="0">
                    <a:pos x="104" y="542"/>
                  </a:cxn>
                  <a:cxn ang="0">
                    <a:pos x="110" y="540"/>
                  </a:cxn>
                  <a:cxn ang="0">
                    <a:pos x="116" y="536"/>
                  </a:cxn>
                  <a:cxn ang="0">
                    <a:pos x="126" y="524"/>
                  </a:cxn>
                  <a:cxn ang="0">
                    <a:pos x="136" y="510"/>
                  </a:cxn>
                  <a:cxn ang="0">
                    <a:pos x="220" y="372"/>
                  </a:cxn>
                  <a:cxn ang="0">
                    <a:pos x="252" y="314"/>
                  </a:cxn>
                  <a:cxn ang="0">
                    <a:pos x="254" y="314"/>
                  </a:cxn>
                  <a:cxn ang="0">
                    <a:pos x="286" y="256"/>
                  </a:cxn>
                  <a:cxn ang="0">
                    <a:pos x="364" y="114"/>
                  </a:cxn>
                  <a:cxn ang="0">
                    <a:pos x="364" y="114"/>
                  </a:cxn>
                  <a:cxn ang="0">
                    <a:pos x="370" y="98"/>
                  </a:cxn>
                  <a:cxn ang="0">
                    <a:pos x="376" y="84"/>
                  </a:cxn>
                  <a:cxn ang="0">
                    <a:pos x="376" y="76"/>
                  </a:cxn>
                  <a:cxn ang="0">
                    <a:pos x="376" y="70"/>
                  </a:cxn>
                  <a:cxn ang="0">
                    <a:pos x="374" y="66"/>
                  </a:cxn>
                  <a:cxn ang="0">
                    <a:pos x="370" y="60"/>
                  </a:cxn>
                  <a:cxn ang="0">
                    <a:pos x="370" y="60"/>
                  </a:cxn>
                </a:cxnLst>
                <a:rect l="0" t="0" r="r" b="b"/>
                <a:pathLst>
                  <a:path w="376" h="542">
                    <a:moveTo>
                      <a:pt x="370" y="60"/>
                    </a:moveTo>
                    <a:lnTo>
                      <a:pt x="306" y="10"/>
                    </a:lnTo>
                    <a:lnTo>
                      <a:pt x="290" y="0"/>
                    </a:lnTo>
                    <a:lnTo>
                      <a:pt x="240" y="106"/>
                    </a:lnTo>
                    <a:lnTo>
                      <a:pt x="240" y="106"/>
                    </a:lnTo>
                    <a:lnTo>
                      <a:pt x="240" y="118"/>
                    </a:lnTo>
                    <a:lnTo>
                      <a:pt x="240" y="124"/>
                    </a:lnTo>
                    <a:lnTo>
                      <a:pt x="236" y="128"/>
                    </a:lnTo>
                    <a:lnTo>
                      <a:pt x="162" y="260"/>
                    </a:lnTo>
                    <a:lnTo>
                      <a:pt x="160" y="260"/>
                    </a:lnTo>
                    <a:lnTo>
                      <a:pt x="86" y="392"/>
                    </a:lnTo>
                    <a:lnTo>
                      <a:pt x="86" y="392"/>
                    </a:lnTo>
                    <a:lnTo>
                      <a:pt x="82" y="398"/>
                    </a:lnTo>
                    <a:lnTo>
                      <a:pt x="78" y="400"/>
                    </a:lnTo>
                    <a:lnTo>
                      <a:pt x="68" y="406"/>
                    </a:lnTo>
                    <a:lnTo>
                      <a:pt x="0" y="504"/>
                    </a:lnTo>
                    <a:lnTo>
                      <a:pt x="18" y="512"/>
                    </a:lnTo>
                    <a:lnTo>
                      <a:pt x="94" y="542"/>
                    </a:lnTo>
                    <a:lnTo>
                      <a:pt x="94" y="542"/>
                    </a:lnTo>
                    <a:lnTo>
                      <a:pt x="98" y="542"/>
                    </a:lnTo>
                    <a:lnTo>
                      <a:pt x="104" y="542"/>
                    </a:lnTo>
                    <a:lnTo>
                      <a:pt x="110" y="540"/>
                    </a:lnTo>
                    <a:lnTo>
                      <a:pt x="116" y="536"/>
                    </a:lnTo>
                    <a:lnTo>
                      <a:pt x="126" y="524"/>
                    </a:lnTo>
                    <a:lnTo>
                      <a:pt x="136" y="510"/>
                    </a:lnTo>
                    <a:lnTo>
                      <a:pt x="220" y="372"/>
                    </a:lnTo>
                    <a:lnTo>
                      <a:pt x="252" y="314"/>
                    </a:lnTo>
                    <a:lnTo>
                      <a:pt x="254" y="314"/>
                    </a:lnTo>
                    <a:lnTo>
                      <a:pt x="286" y="256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70" y="98"/>
                    </a:lnTo>
                    <a:lnTo>
                      <a:pt x="376" y="84"/>
                    </a:lnTo>
                    <a:lnTo>
                      <a:pt x="376" y="76"/>
                    </a:lnTo>
                    <a:lnTo>
                      <a:pt x="376" y="70"/>
                    </a:lnTo>
                    <a:lnTo>
                      <a:pt x="374" y="66"/>
                    </a:lnTo>
                    <a:lnTo>
                      <a:pt x="370" y="60"/>
                    </a:lnTo>
                    <a:lnTo>
                      <a:pt x="370" y="6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1" name="Freeform 59">
                <a:extLst>
                  <a:ext uri="{FF2B5EF4-FFF2-40B4-BE49-F238E27FC236}">
                    <a16:creationId xmlns:a16="http://schemas.microsoft.com/office/drawing/2014/main" id="{7A035CEE-5E5D-4D93-842D-1ACBE5920040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8677275" y="4787900"/>
                <a:ext cx="161925" cy="190500"/>
              </a:xfrm>
              <a:custGeom>
                <a:avLst/>
                <a:gdLst/>
                <a:ahLst/>
                <a:cxnLst>
                  <a:cxn ang="0">
                    <a:pos x="48" y="6"/>
                  </a:cxn>
                  <a:cxn ang="0">
                    <a:pos x="38" y="22"/>
                  </a:cxn>
                  <a:cxn ang="0">
                    <a:pos x="38" y="22"/>
                  </a:cxn>
                  <a:cxn ang="0">
                    <a:pos x="34" y="34"/>
                  </a:cxn>
                  <a:cxn ang="0">
                    <a:pos x="28" y="48"/>
                  </a:cxn>
                  <a:cxn ang="0">
                    <a:pos x="28" y="48"/>
                  </a:cxn>
                  <a:cxn ang="0">
                    <a:pos x="20" y="58"/>
                  </a:cxn>
                  <a:cxn ang="0">
                    <a:pos x="12" y="68"/>
                  </a:cxn>
                  <a:cxn ang="0">
                    <a:pos x="2" y="84"/>
                  </a:cxn>
                  <a:cxn ang="0">
                    <a:pos x="2" y="84"/>
                  </a:cxn>
                  <a:cxn ang="0">
                    <a:pos x="0" y="90"/>
                  </a:cxn>
                  <a:cxn ang="0">
                    <a:pos x="0" y="94"/>
                  </a:cxn>
                  <a:cxn ang="0">
                    <a:pos x="4" y="100"/>
                  </a:cxn>
                  <a:cxn ang="0">
                    <a:pos x="8" y="104"/>
                  </a:cxn>
                  <a:cxn ang="0">
                    <a:pos x="34" y="120"/>
                  </a:cxn>
                  <a:cxn ang="0">
                    <a:pos x="102" y="22"/>
                  </a:cxn>
                  <a:cxn ang="0">
                    <a:pos x="66" y="2"/>
                  </a:cxn>
                  <a:cxn ang="0">
                    <a:pos x="66" y="2"/>
                  </a:cxn>
                  <a:cxn ang="0">
                    <a:pos x="60" y="0"/>
                  </a:cxn>
                  <a:cxn ang="0">
                    <a:pos x="56" y="0"/>
                  </a:cxn>
                  <a:cxn ang="0">
                    <a:pos x="50" y="2"/>
                  </a:cxn>
                  <a:cxn ang="0">
                    <a:pos x="48" y="6"/>
                  </a:cxn>
                  <a:cxn ang="0">
                    <a:pos x="48" y="6"/>
                  </a:cxn>
                </a:cxnLst>
                <a:rect l="0" t="0" r="r" b="b"/>
                <a:pathLst>
                  <a:path w="102" h="120">
                    <a:moveTo>
                      <a:pt x="48" y="6"/>
                    </a:moveTo>
                    <a:lnTo>
                      <a:pt x="38" y="22"/>
                    </a:lnTo>
                    <a:lnTo>
                      <a:pt x="38" y="22"/>
                    </a:lnTo>
                    <a:lnTo>
                      <a:pt x="34" y="3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0" y="58"/>
                    </a:lnTo>
                    <a:lnTo>
                      <a:pt x="12" y="68"/>
                    </a:lnTo>
                    <a:lnTo>
                      <a:pt x="2" y="84"/>
                    </a:lnTo>
                    <a:lnTo>
                      <a:pt x="2" y="84"/>
                    </a:lnTo>
                    <a:lnTo>
                      <a:pt x="0" y="90"/>
                    </a:lnTo>
                    <a:lnTo>
                      <a:pt x="0" y="94"/>
                    </a:lnTo>
                    <a:lnTo>
                      <a:pt x="4" y="100"/>
                    </a:lnTo>
                    <a:lnTo>
                      <a:pt x="8" y="104"/>
                    </a:lnTo>
                    <a:lnTo>
                      <a:pt x="34" y="120"/>
                    </a:lnTo>
                    <a:lnTo>
                      <a:pt x="102" y="22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0" y="2"/>
                    </a:lnTo>
                    <a:lnTo>
                      <a:pt x="48" y="6"/>
                    </a:lnTo>
                    <a:lnTo>
                      <a:pt x="4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2" name="Freeform 60">
                <a:extLst>
                  <a:ext uri="{FF2B5EF4-FFF2-40B4-BE49-F238E27FC236}">
                    <a16:creationId xmlns:a16="http://schemas.microsoft.com/office/drawing/2014/main" id="{2A9688A3-01A9-4D92-8208-756D49EF0982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9042400" y="4149725"/>
                <a:ext cx="149225" cy="200025"/>
              </a:xfrm>
              <a:custGeom>
                <a:avLst/>
                <a:gdLst/>
                <a:ahLst/>
                <a:cxnLst>
                  <a:cxn ang="0">
                    <a:pos x="8" y="104"/>
                  </a:cxn>
                  <a:cxn ang="0">
                    <a:pos x="44" y="126"/>
                  </a:cxn>
                  <a:cxn ang="0">
                    <a:pos x="94" y="18"/>
                  </a:cxn>
                  <a:cxn ang="0">
                    <a:pos x="66" y="2"/>
                  </a:cxn>
                  <a:cxn ang="0">
                    <a:pos x="66" y="2"/>
                  </a:cxn>
                  <a:cxn ang="0">
                    <a:pos x="62" y="0"/>
                  </a:cxn>
                  <a:cxn ang="0">
                    <a:pos x="56" y="0"/>
                  </a:cxn>
                  <a:cxn ang="0">
                    <a:pos x="50" y="2"/>
                  </a:cxn>
                  <a:cxn ang="0">
                    <a:pos x="48" y="6"/>
                  </a:cxn>
                  <a:cxn ang="0">
                    <a:pos x="40" y="20"/>
                  </a:cxn>
                  <a:cxn ang="0">
                    <a:pos x="40" y="20"/>
                  </a:cxn>
                  <a:cxn ang="0">
                    <a:pos x="36" y="34"/>
                  </a:cxn>
                  <a:cxn ang="0">
                    <a:pos x="28" y="48"/>
                  </a:cxn>
                  <a:cxn ang="0">
                    <a:pos x="28" y="48"/>
                  </a:cxn>
                  <a:cxn ang="0">
                    <a:pos x="20" y="62"/>
                  </a:cxn>
                  <a:cxn ang="0">
                    <a:pos x="10" y="72"/>
                  </a:cxn>
                  <a:cxn ang="0">
                    <a:pos x="2" y="86"/>
                  </a:cxn>
                  <a:cxn ang="0">
                    <a:pos x="2" y="86"/>
                  </a:cxn>
                  <a:cxn ang="0">
                    <a:pos x="0" y="90"/>
                  </a:cxn>
                  <a:cxn ang="0">
                    <a:pos x="0" y="96"/>
                  </a:cxn>
                  <a:cxn ang="0">
                    <a:pos x="4" y="100"/>
                  </a:cxn>
                  <a:cxn ang="0">
                    <a:pos x="8" y="104"/>
                  </a:cxn>
                  <a:cxn ang="0">
                    <a:pos x="8" y="104"/>
                  </a:cxn>
                </a:cxnLst>
                <a:rect l="0" t="0" r="r" b="b"/>
                <a:pathLst>
                  <a:path w="94" h="126">
                    <a:moveTo>
                      <a:pt x="8" y="104"/>
                    </a:moveTo>
                    <a:lnTo>
                      <a:pt x="44" y="126"/>
                    </a:lnTo>
                    <a:lnTo>
                      <a:pt x="94" y="18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2" y="0"/>
                    </a:lnTo>
                    <a:lnTo>
                      <a:pt x="56" y="0"/>
                    </a:lnTo>
                    <a:lnTo>
                      <a:pt x="50" y="2"/>
                    </a:lnTo>
                    <a:lnTo>
                      <a:pt x="48" y="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6" y="3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0" y="62"/>
                    </a:lnTo>
                    <a:lnTo>
                      <a:pt x="10" y="72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0" y="90"/>
                    </a:lnTo>
                    <a:lnTo>
                      <a:pt x="0" y="96"/>
                    </a:lnTo>
                    <a:lnTo>
                      <a:pt x="4" y="100"/>
                    </a:lnTo>
                    <a:lnTo>
                      <a:pt x="8" y="104"/>
                    </a:lnTo>
                    <a:lnTo>
                      <a:pt x="8" y="10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53" name="Freeform 61">
                <a:extLst>
                  <a:ext uri="{FF2B5EF4-FFF2-40B4-BE49-F238E27FC236}">
                    <a16:creationId xmlns:a16="http://schemas.microsoft.com/office/drawing/2014/main" id="{439DBCA9-B48D-4381-BA86-8C5DD434F832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8553450" y="4416425"/>
                <a:ext cx="288925" cy="660400"/>
              </a:xfrm>
              <a:custGeom>
                <a:avLst/>
                <a:gdLst/>
                <a:ahLst/>
                <a:cxnLst>
                  <a:cxn ang="0">
                    <a:pos x="38" y="16"/>
                  </a:cxn>
                  <a:cxn ang="0">
                    <a:pos x="68" y="10"/>
                  </a:cxn>
                  <a:cxn ang="0">
                    <a:pos x="114" y="8"/>
                  </a:cxn>
                  <a:cxn ang="0">
                    <a:pos x="144" y="14"/>
                  </a:cxn>
                  <a:cxn ang="0">
                    <a:pos x="158" y="32"/>
                  </a:cxn>
                  <a:cxn ang="0">
                    <a:pos x="160" y="56"/>
                  </a:cxn>
                  <a:cxn ang="0">
                    <a:pos x="150" y="86"/>
                  </a:cxn>
                  <a:cxn ang="0">
                    <a:pos x="124" y="138"/>
                  </a:cxn>
                  <a:cxn ang="0">
                    <a:pos x="48" y="258"/>
                  </a:cxn>
                  <a:cxn ang="0">
                    <a:pos x="10" y="332"/>
                  </a:cxn>
                  <a:cxn ang="0">
                    <a:pos x="2" y="362"/>
                  </a:cxn>
                  <a:cxn ang="0">
                    <a:pos x="2" y="388"/>
                  </a:cxn>
                  <a:cxn ang="0">
                    <a:pos x="16" y="406"/>
                  </a:cxn>
                  <a:cxn ang="0">
                    <a:pos x="46" y="414"/>
                  </a:cxn>
                  <a:cxn ang="0">
                    <a:pos x="60" y="416"/>
                  </a:cxn>
                  <a:cxn ang="0">
                    <a:pos x="118" y="410"/>
                  </a:cxn>
                  <a:cxn ang="0">
                    <a:pos x="140" y="404"/>
                  </a:cxn>
                  <a:cxn ang="0">
                    <a:pos x="146" y="392"/>
                  </a:cxn>
                  <a:cxn ang="0">
                    <a:pos x="112" y="400"/>
                  </a:cxn>
                  <a:cxn ang="0">
                    <a:pos x="64" y="404"/>
                  </a:cxn>
                  <a:cxn ang="0">
                    <a:pos x="36" y="394"/>
                  </a:cxn>
                  <a:cxn ang="0">
                    <a:pos x="28" y="386"/>
                  </a:cxn>
                  <a:cxn ang="0">
                    <a:pos x="26" y="360"/>
                  </a:cxn>
                  <a:cxn ang="0">
                    <a:pos x="36" y="328"/>
                  </a:cxn>
                  <a:cxn ang="0">
                    <a:pos x="54" y="290"/>
                  </a:cxn>
                  <a:cxn ang="0">
                    <a:pos x="108" y="202"/>
                  </a:cxn>
                  <a:cxn ang="0">
                    <a:pos x="158" y="114"/>
                  </a:cxn>
                  <a:cxn ang="0">
                    <a:pos x="176" y="76"/>
                  </a:cxn>
                  <a:cxn ang="0">
                    <a:pos x="182" y="42"/>
                  </a:cxn>
                  <a:cxn ang="0">
                    <a:pos x="176" y="18"/>
                  </a:cxn>
                  <a:cxn ang="0">
                    <a:pos x="166" y="8"/>
                  </a:cxn>
                  <a:cxn ang="0">
                    <a:pos x="132" y="0"/>
                  </a:cxn>
                  <a:cxn ang="0">
                    <a:pos x="78" y="2"/>
                  </a:cxn>
                  <a:cxn ang="0">
                    <a:pos x="40" y="10"/>
                  </a:cxn>
                </a:cxnLst>
                <a:rect l="0" t="0" r="r" b="b"/>
                <a:pathLst>
                  <a:path w="182" h="416">
                    <a:moveTo>
                      <a:pt x="40" y="10"/>
                    </a:moveTo>
                    <a:lnTo>
                      <a:pt x="38" y="16"/>
                    </a:lnTo>
                    <a:lnTo>
                      <a:pt x="38" y="16"/>
                    </a:lnTo>
                    <a:lnTo>
                      <a:pt x="68" y="10"/>
                    </a:lnTo>
                    <a:lnTo>
                      <a:pt x="94" y="8"/>
                    </a:lnTo>
                    <a:lnTo>
                      <a:pt x="114" y="8"/>
                    </a:lnTo>
                    <a:lnTo>
                      <a:pt x="132" y="10"/>
                    </a:lnTo>
                    <a:lnTo>
                      <a:pt x="144" y="14"/>
                    </a:lnTo>
                    <a:lnTo>
                      <a:pt x="152" y="22"/>
                    </a:lnTo>
                    <a:lnTo>
                      <a:pt x="158" y="32"/>
                    </a:lnTo>
                    <a:lnTo>
                      <a:pt x="160" y="42"/>
                    </a:lnTo>
                    <a:lnTo>
                      <a:pt x="160" y="56"/>
                    </a:lnTo>
                    <a:lnTo>
                      <a:pt x="156" y="70"/>
                    </a:lnTo>
                    <a:lnTo>
                      <a:pt x="150" y="86"/>
                    </a:lnTo>
                    <a:lnTo>
                      <a:pt x="142" y="102"/>
                    </a:lnTo>
                    <a:lnTo>
                      <a:pt x="124" y="138"/>
                    </a:lnTo>
                    <a:lnTo>
                      <a:pt x="100" y="178"/>
                    </a:lnTo>
                    <a:lnTo>
                      <a:pt x="48" y="258"/>
                    </a:lnTo>
                    <a:lnTo>
                      <a:pt x="26" y="296"/>
                    </a:lnTo>
                    <a:lnTo>
                      <a:pt x="10" y="332"/>
                    </a:lnTo>
                    <a:lnTo>
                      <a:pt x="4" y="348"/>
                    </a:lnTo>
                    <a:lnTo>
                      <a:pt x="2" y="362"/>
                    </a:lnTo>
                    <a:lnTo>
                      <a:pt x="0" y="376"/>
                    </a:lnTo>
                    <a:lnTo>
                      <a:pt x="2" y="388"/>
                    </a:lnTo>
                    <a:lnTo>
                      <a:pt x="8" y="398"/>
                    </a:lnTo>
                    <a:lnTo>
                      <a:pt x="16" y="406"/>
                    </a:lnTo>
                    <a:lnTo>
                      <a:pt x="28" y="412"/>
                    </a:lnTo>
                    <a:lnTo>
                      <a:pt x="46" y="414"/>
                    </a:lnTo>
                    <a:lnTo>
                      <a:pt x="46" y="414"/>
                    </a:lnTo>
                    <a:lnTo>
                      <a:pt x="60" y="416"/>
                    </a:lnTo>
                    <a:lnTo>
                      <a:pt x="78" y="414"/>
                    </a:lnTo>
                    <a:lnTo>
                      <a:pt x="118" y="410"/>
                    </a:lnTo>
                    <a:lnTo>
                      <a:pt x="118" y="410"/>
                    </a:lnTo>
                    <a:lnTo>
                      <a:pt x="140" y="404"/>
                    </a:lnTo>
                    <a:lnTo>
                      <a:pt x="164" y="398"/>
                    </a:lnTo>
                    <a:lnTo>
                      <a:pt x="146" y="392"/>
                    </a:lnTo>
                    <a:lnTo>
                      <a:pt x="146" y="392"/>
                    </a:lnTo>
                    <a:lnTo>
                      <a:pt x="112" y="400"/>
                    </a:lnTo>
                    <a:lnTo>
                      <a:pt x="86" y="402"/>
                    </a:lnTo>
                    <a:lnTo>
                      <a:pt x="64" y="404"/>
                    </a:lnTo>
                    <a:lnTo>
                      <a:pt x="48" y="400"/>
                    </a:lnTo>
                    <a:lnTo>
                      <a:pt x="36" y="394"/>
                    </a:lnTo>
                    <a:lnTo>
                      <a:pt x="32" y="390"/>
                    </a:lnTo>
                    <a:lnTo>
                      <a:pt x="28" y="386"/>
                    </a:lnTo>
                    <a:lnTo>
                      <a:pt x="26" y="374"/>
                    </a:lnTo>
                    <a:lnTo>
                      <a:pt x="26" y="360"/>
                    </a:lnTo>
                    <a:lnTo>
                      <a:pt x="30" y="346"/>
                    </a:lnTo>
                    <a:lnTo>
                      <a:pt x="36" y="328"/>
                    </a:lnTo>
                    <a:lnTo>
                      <a:pt x="44" y="310"/>
                    </a:lnTo>
                    <a:lnTo>
                      <a:pt x="54" y="290"/>
                    </a:lnTo>
                    <a:lnTo>
                      <a:pt x="80" y="246"/>
                    </a:lnTo>
                    <a:lnTo>
                      <a:pt x="108" y="202"/>
                    </a:lnTo>
                    <a:lnTo>
                      <a:pt x="134" y="158"/>
                    </a:lnTo>
                    <a:lnTo>
                      <a:pt x="158" y="114"/>
                    </a:lnTo>
                    <a:lnTo>
                      <a:pt x="168" y="94"/>
                    </a:lnTo>
                    <a:lnTo>
                      <a:pt x="176" y="76"/>
                    </a:lnTo>
                    <a:lnTo>
                      <a:pt x="180" y="58"/>
                    </a:lnTo>
                    <a:lnTo>
                      <a:pt x="182" y="42"/>
                    </a:lnTo>
                    <a:lnTo>
                      <a:pt x="180" y="30"/>
                    </a:lnTo>
                    <a:lnTo>
                      <a:pt x="176" y="18"/>
                    </a:lnTo>
                    <a:lnTo>
                      <a:pt x="170" y="12"/>
                    </a:lnTo>
                    <a:lnTo>
                      <a:pt x="166" y="8"/>
                    </a:lnTo>
                    <a:lnTo>
                      <a:pt x="152" y="2"/>
                    </a:lnTo>
                    <a:lnTo>
                      <a:pt x="132" y="0"/>
                    </a:lnTo>
                    <a:lnTo>
                      <a:pt x="108" y="0"/>
                    </a:lnTo>
                    <a:lnTo>
                      <a:pt x="78" y="2"/>
                    </a:lnTo>
                    <a:lnTo>
                      <a:pt x="40" y="10"/>
                    </a:lnTo>
                    <a:lnTo>
                      <a:pt x="40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54" name="TextBox 69">
              <a:extLst>
                <a:ext uri="{FF2B5EF4-FFF2-40B4-BE49-F238E27FC236}">
                  <a16:creationId xmlns:a16="http://schemas.microsoft.com/office/drawing/2014/main" id="{C3A6076E-3800-4C38-8BF6-9E0665D55DA9}"/>
                </a:ext>
              </a:extLst>
            </p:cNvPr>
            <p:cNvSpPr txBox="1"/>
            <p:nvPr/>
          </p:nvSpPr>
          <p:spPr bwMode="black">
            <a:xfrm>
              <a:off x="4879528" y="4067089"/>
              <a:ext cx="1526059" cy="22576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pPr marL="6351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420 </a:t>
              </a:r>
              <a:r>
                <a:rPr lang="cs-CZ" sz="1467" dirty="0">
                  <a:solidFill>
                    <a:srgbClr val="405A9C"/>
                  </a:solidFill>
                  <a:cs typeface="Calibri" panose="020F0502020204030204" pitchFamily="34" charset="0"/>
                </a:rPr>
                <a:t>602 789 565</a:t>
              </a:r>
              <a:endPara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405A9C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pic>
        <p:nvPicPr>
          <p:cNvPr id="64" name="Obrázek 63">
            <a:extLst>
              <a:ext uri="{FF2B5EF4-FFF2-40B4-BE49-F238E27FC236}">
                <a16:creationId xmlns:a16="http://schemas.microsoft.com/office/drawing/2014/main" id="{EF283EDC-3C84-465F-B5E3-24C87062CFB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197"/>
          <a:stretch/>
        </p:blipFill>
        <p:spPr>
          <a:xfrm>
            <a:off x="1203494" y="1739641"/>
            <a:ext cx="1259999" cy="1478852"/>
          </a:xfrm>
          <a:prstGeom prst="ellipse">
            <a:avLst/>
          </a:prstGeom>
        </p:spPr>
      </p:pic>
      <p:pic>
        <p:nvPicPr>
          <p:cNvPr id="66" name="Obrázek 65">
            <a:extLst>
              <a:ext uri="{FF2B5EF4-FFF2-40B4-BE49-F238E27FC236}">
                <a16:creationId xmlns:a16="http://schemas.microsoft.com/office/drawing/2014/main" id="{B6705BBA-AC0E-4176-BE3E-F36625377DA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07"/>
          <a:stretch/>
        </p:blipFill>
        <p:spPr>
          <a:xfrm>
            <a:off x="4962163" y="1728706"/>
            <a:ext cx="1259999" cy="1500721"/>
          </a:xfrm>
          <a:prstGeom prst="ellipse">
            <a:avLst/>
          </a:prstGeom>
        </p:spPr>
      </p:pic>
      <p:sp>
        <p:nvSpPr>
          <p:cNvPr id="69" name="Zástupný text 10">
            <a:extLst>
              <a:ext uri="{FF2B5EF4-FFF2-40B4-BE49-F238E27FC236}">
                <a16:creationId xmlns:a16="http://schemas.microsoft.com/office/drawing/2014/main" id="{FC57D515-C36C-4645-8C76-317D61C3F22C}"/>
              </a:ext>
            </a:extLst>
          </p:cNvPr>
          <p:cNvSpPr txBox="1">
            <a:spLocks/>
          </p:cNvSpPr>
          <p:nvPr/>
        </p:nvSpPr>
        <p:spPr>
          <a:xfrm>
            <a:off x="4805130" y="3804363"/>
            <a:ext cx="2851704" cy="815608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50000"/>
              <a:buFont typeface="Arial" panose="020B0604020202020204" pitchFamily="34" charset="0"/>
              <a:buNone/>
              <a:defRPr sz="1400" b="0" kern="1200" cap="none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3335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42925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5882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b="1" dirty="0"/>
              <a:t>Associate Director</a:t>
            </a:r>
          </a:p>
          <a:p>
            <a:r>
              <a:rPr lang="cs-CZ" b="1" dirty="0"/>
              <a:t>Ipsos Customer Experience</a:t>
            </a:r>
          </a:p>
          <a:p>
            <a:endParaRPr lang="cs-CZ" dirty="0"/>
          </a:p>
        </p:txBody>
      </p:sp>
      <p:sp>
        <p:nvSpPr>
          <p:cNvPr id="70" name="Zástupný text 10">
            <a:extLst>
              <a:ext uri="{FF2B5EF4-FFF2-40B4-BE49-F238E27FC236}">
                <a16:creationId xmlns:a16="http://schemas.microsoft.com/office/drawing/2014/main" id="{38DED506-A621-4A12-91EB-3FEBC2F5D21D}"/>
              </a:ext>
            </a:extLst>
          </p:cNvPr>
          <p:cNvSpPr txBox="1">
            <a:spLocks/>
          </p:cNvSpPr>
          <p:nvPr/>
        </p:nvSpPr>
        <p:spPr>
          <a:xfrm>
            <a:off x="8955161" y="3812272"/>
            <a:ext cx="2851704" cy="777136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SzPct val="50000"/>
              <a:buFont typeface="Arial" panose="020B0604020202020204" pitchFamily="34" charset="0"/>
              <a:buNone/>
              <a:defRPr sz="1400" b="0" kern="1200" cap="none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3335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42925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75882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b="1" dirty="0"/>
              <a:t>External Affairs </a:t>
            </a:r>
            <a:br>
              <a:rPr lang="cs-CZ" b="1" dirty="0"/>
            </a:br>
            <a:r>
              <a:rPr lang="cs-CZ" b="1" dirty="0"/>
              <a:t>Director </a:t>
            </a:r>
          </a:p>
          <a:p>
            <a:endParaRPr lang="cs-CZ" dirty="0"/>
          </a:p>
        </p:txBody>
      </p:sp>
      <p:grpSp>
        <p:nvGrpSpPr>
          <p:cNvPr id="57" name="Skupina 56">
            <a:extLst>
              <a:ext uri="{FF2B5EF4-FFF2-40B4-BE49-F238E27FC236}">
                <a16:creationId xmlns:a16="http://schemas.microsoft.com/office/drawing/2014/main" id="{57369627-14EA-4F1C-8B5A-79E94F8D29E5}"/>
              </a:ext>
            </a:extLst>
          </p:cNvPr>
          <p:cNvGrpSpPr/>
          <p:nvPr/>
        </p:nvGrpSpPr>
        <p:grpSpPr>
          <a:xfrm>
            <a:off x="9060995" y="4410185"/>
            <a:ext cx="2497949" cy="521293"/>
            <a:chOff x="8675290" y="3771563"/>
            <a:chExt cx="2497949" cy="521293"/>
          </a:xfrm>
        </p:grpSpPr>
        <p:grpSp>
          <p:nvGrpSpPr>
            <p:cNvPr id="19" name="Group 153">
              <a:extLst>
                <a:ext uri="{FF2B5EF4-FFF2-40B4-BE49-F238E27FC236}">
                  <a16:creationId xmlns:a16="http://schemas.microsoft.com/office/drawing/2014/main" id="{D90B3666-569E-4981-9A2D-525EFF765455}"/>
                </a:ext>
              </a:extLst>
            </p:cNvPr>
            <p:cNvGrpSpPr>
              <a:grpSpLocks noChangeAspect="1"/>
            </p:cNvGrpSpPr>
            <p:nvPr/>
          </p:nvGrpSpPr>
          <p:grpSpPr bwMode="black">
            <a:xfrm>
              <a:off x="8675290" y="3843283"/>
              <a:ext cx="179279" cy="119520"/>
              <a:chOff x="-6357938" y="3122613"/>
              <a:chExt cx="1104900" cy="736600"/>
            </a:xfrm>
            <a:solidFill>
              <a:srgbClr val="F1BE48"/>
            </a:solidFill>
          </p:grpSpPr>
          <p:sp>
            <p:nvSpPr>
              <p:cNvPr id="20" name="Freeform 7">
                <a:extLst>
                  <a:ext uri="{FF2B5EF4-FFF2-40B4-BE49-F238E27FC236}">
                    <a16:creationId xmlns:a16="http://schemas.microsoft.com/office/drawing/2014/main" id="{FFF89565-D754-4A80-89A4-202554288A93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-6319838" y="3122613"/>
                <a:ext cx="1028700" cy="431800"/>
              </a:xfrm>
              <a:custGeom>
                <a:avLst/>
                <a:gdLst/>
                <a:ahLst/>
                <a:cxnLst>
                  <a:cxn ang="0">
                    <a:pos x="324" y="272"/>
                  </a:cxn>
                  <a:cxn ang="0">
                    <a:pos x="648" y="0"/>
                  </a:cxn>
                  <a:cxn ang="0">
                    <a:pos x="648" y="0"/>
                  </a:cxn>
                  <a:cxn ang="0">
                    <a:pos x="64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324" y="272"/>
                  </a:cxn>
                </a:cxnLst>
                <a:rect l="0" t="0" r="r" b="b"/>
                <a:pathLst>
                  <a:path w="648" h="272">
                    <a:moveTo>
                      <a:pt x="324" y="272"/>
                    </a:moveTo>
                    <a:lnTo>
                      <a:pt x="648" y="0"/>
                    </a:lnTo>
                    <a:lnTo>
                      <a:pt x="648" y="0"/>
                    </a:lnTo>
                    <a:lnTo>
                      <a:pt x="64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324" y="27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21" name="Freeform 8">
                <a:extLst>
                  <a:ext uri="{FF2B5EF4-FFF2-40B4-BE49-F238E27FC236}">
                    <a16:creationId xmlns:a16="http://schemas.microsoft.com/office/drawing/2014/main" id="{3BFD2B59-D9C4-4B70-A24D-97330EF7079C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-5621338" y="3154363"/>
                <a:ext cx="368300" cy="669925"/>
              </a:xfrm>
              <a:custGeom>
                <a:avLst/>
                <a:gdLst/>
                <a:ahLst/>
                <a:cxnLst>
                  <a:cxn ang="0">
                    <a:pos x="232" y="8"/>
                  </a:cxn>
                  <a:cxn ang="0">
                    <a:pos x="232" y="8"/>
                  </a:cxn>
                  <a:cxn ang="0">
                    <a:pos x="230" y="0"/>
                  </a:cxn>
                  <a:cxn ang="0">
                    <a:pos x="0" y="192"/>
                  </a:cxn>
                  <a:cxn ang="0">
                    <a:pos x="230" y="422"/>
                  </a:cxn>
                  <a:cxn ang="0">
                    <a:pos x="230" y="422"/>
                  </a:cxn>
                  <a:cxn ang="0">
                    <a:pos x="232" y="416"/>
                  </a:cxn>
                  <a:cxn ang="0">
                    <a:pos x="232" y="8"/>
                  </a:cxn>
                </a:cxnLst>
                <a:rect l="0" t="0" r="r" b="b"/>
                <a:pathLst>
                  <a:path w="232" h="422">
                    <a:moveTo>
                      <a:pt x="232" y="8"/>
                    </a:moveTo>
                    <a:lnTo>
                      <a:pt x="232" y="8"/>
                    </a:lnTo>
                    <a:lnTo>
                      <a:pt x="230" y="0"/>
                    </a:lnTo>
                    <a:lnTo>
                      <a:pt x="0" y="192"/>
                    </a:lnTo>
                    <a:lnTo>
                      <a:pt x="230" y="422"/>
                    </a:lnTo>
                    <a:lnTo>
                      <a:pt x="230" y="422"/>
                    </a:lnTo>
                    <a:lnTo>
                      <a:pt x="232" y="416"/>
                    </a:lnTo>
                    <a:lnTo>
                      <a:pt x="23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22" name="Freeform 9">
                <a:extLst>
                  <a:ext uri="{FF2B5EF4-FFF2-40B4-BE49-F238E27FC236}">
                    <a16:creationId xmlns:a16="http://schemas.microsoft.com/office/drawing/2014/main" id="{C6B08922-58F3-49DF-99C5-6CF4C8BBB46A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-6357938" y="3154363"/>
                <a:ext cx="368300" cy="6699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0" y="8"/>
                  </a:cxn>
                  <a:cxn ang="0">
                    <a:pos x="0" y="416"/>
                  </a:cxn>
                  <a:cxn ang="0">
                    <a:pos x="0" y="416"/>
                  </a:cxn>
                  <a:cxn ang="0">
                    <a:pos x="2" y="422"/>
                  </a:cxn>
                  <a:cxn ang="0">
                    <a:pos x="232" y="192"/>
                  </a:cxn>
                  <a:cxn ang="0">
                    <a:pos x="2" y="0"/>
                  </a:cxn>
                </a:cxnLst>
                <a:rect l="0" t="0" r="r" b="b"/>
                <a:pathLst>
                  <a:path w="232" h="422">
                    <a:moveTo>
                      <a:pt x="2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0" y="416"/>
                    </a:lnTo>
                    <a:lnTo>
                      <a:pt x="0" y="416"/>
                    </a:lnTo>
                    <a:lnTo>
                      <a:pt x="2" y="422"/>
                    </a:lnTo>
                    <a:lnTo>
                      <a:pt x="232" y="19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23" name="Freeform 10">
                <a:extLst>
                  <a:ext uri="{FF2B5EF4-FFF2-40B4-BE49-F238E27FC236}">
                    <a16:creationId xmlns:a16="http://schemas.microsoft.com/office/drawing/2014/main" id="{3E35D36B-A05E-43FE-B277-F872A982E26C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-6323013" y="3487738"/>
                <a:ext cx="1035050" cy="371475"/>
              </a:xfrm>
              <a:custGeom>
                <a:avLst/>
                <a:gdLst/>
                <a:ahLst/>
                <a:cxnLst>
                  <a:cxn ang="0">
                    <a:pos x="420" y="0"/>
                  </a:cxn>
                  <a:cxn ang="0">
                    <a:pos x="336" y="72"/>
                  </a:cxn>
                  <a:cxn ang="0">
                    <a:pos x="336" y="72"/>
                  </a:cxn>
                  <a:cxn ang="0">
                    <a:pos x="330" y="74"/>
                  </a:cxn>
                  <a:cxn ang="0">
                    <a:pos x="326" y="74"/>
                  </a:cxn>
                  <a:cxn ang="0">
                    <a:pos x="326" y="74"/>
                  </a:cxn>
                  <a:cxn ang="0">
                    <a:pos x="322" y="74"/>
                  </a:cxn>
                  <a:cxn ang="0">
                    <a:pos x="316" y="72"/>
                  </a:cxn>
                  <a:cxn ang="0">
                    <a:pos x="232" y="0"/>
                  </a:cxn>
                  <a:cxn ang="0">
                    <a:pos x="0" y="232"/>
                  </a:cxn>
                  <a:cxn ang="0">
                    <a:pos x="0" y="232"/>
                  </a:cxn>
                  <a:cxn ang="0">
                    <a:pos x="6" y="234"/>
                  </a:cxn>
                  <a:cxn ang="0">
                    <a:pos x="646" y="234"/>
                  </a:cxn>
                  <a:cxn ang="0">
                    <a:pos x="646" y="234"/>
                  </a:cxn>
                  <a:cxn ang="0">
                    <a:pos x="652" y="232"/>
                  </a:cxn>
                  <a:cxn ang="0">
                    <a:pos x="420" y="0"/>
                  </a:cxn>
                </a:cxnLst>
                <a:rect l="0" t="0" r="r" b="b"/>
                <a:pathLst>
                  <a:path w="652" h="234">
                    <a:moveTo>
                      <a:pt x="420" y="0"/>
                    </a:moveTo>
                    <a:lnTo>
                      <a:pt x="336" y="72"/>
                    </a:lnTo>
                    <a:lnTo>
                      <a:pt x="336" y="72"/>
                    </a:lnTo>
                    <a:lnTo>
                      <a:pt x="330" y="74"/>
                    </a:lnTo>
                    <a:lnTo>
                      <a:pt x="326" y="74"/>
                    </a:lnTo>
                    <a:lnTo>
                      <a:pt x="326" y="74"/>
                    </a:lnTo>
                    <a:lnTo>
                      <a:pt x="322" y="74"/>
                    </a:lnTo>
                    <a:lnTo>
                      <a:pt x="316" y="72"/>
                    </a:lnTo>
                    <a:lnTo>
                      <a:pt x="232" y="0"/>
                    </a:lnTo>
                    <a:lnTo>
                      <a:pt x="0" y="232"/>
                    </a:lnTo>
                    <a:lnTo>
                      <a:pt x="0" y="232"/>
                    </a:lnTo>
                    <a:lnTo>
                      <a:pt x="6" y="234"/>
                    </a:lnTo>
                    <a:lnTo>
                      <a:pt x="646" y="234"/>
                    </a:lnTo>
                    <a:lnTo>
                      <a:pt x="646" y="234"/>
                    </a:lnTo>
                    <a:lnTo>
                      <a:pt x="652" y="232"/>
                    </a:lnTo>
                    <a:lnTo>
                      <a:pt x="42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24" name="TextBox 68">
              <a:extLst>
                <a:ext uri="{FF2B5EF4-FFF2-40B4-BE49-F238E27FC236}">
                  <a16:creationId xmlns:a16="http://schemas.microsoft.com/office/drawing/2014/main" id="{47426747-80EC-4198-93D3-262A0F964CEE}"/>
                </a:ext>
              </a:extLst>
            </p:cNvPr>
            <p:cNvSpPr txBox="1"/>
            <p:nvPr/>
          </p:nvSpPr>
          <p:spPr bwMode="black">
            <a:xfrm>
              <a:off x="9007582" y="3771563"/>
              <a:ext cx="2165657" cy="22576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pPr marL="6351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467" dirty="0">
                  <a:solidFill>
                    <a:srgbClr val="405A9C"/>
                  </a:solidFill>
                  <a:cs typeface="Calibri" panose="020F0502020204030204" pitchFamily="34" charset="0"/>
                </a:rPr>
                <a:t>tomas.macku</a:t>
              </a:r>
              <a:r>
                <a:rPr kumimoji="0" 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@ipsos.com</a:t>
              </a:r>
            </a:p>
          </p:txBody>
        </p:sp>
        <p:grpSp>
          <p:nvGrpSpPr>
            <p:cNvPr id="25" name="Group 58">
              <a:extLst>
                <a:ext uri="{FF2B5EF4-FFF2-40B4-BE49-F238E27FC236}">
                  <a16:creationId xmlns:a16="http://schemas.microsoft.com/office/drawing/2014/main" id="{F1F1D09A-0C8C-48D6-94C5-B15576F61873}"/>
                </a:ext>
              </a:extLst>
            </p:cNvPr>
            <p:cNvGrpSpPr>
              <a:grpSpLocks noChangeAspect="1"/>
            </p:cNvGrpSpPr>
            <p:nvPr/>
          </p:nvGrpSpPr>
          <p:grpSpPr bwMode="black">
            <a:xfrm flipH="1">
              <a:off x="8682270" y="4080815"/>
              <a:ext cx="169056" cy="198251"/>
              <a:chOff x="8553450" y="4149725"/>
              <a:chExt cx="790575" cy="927100"/>
            </a:xfrm>
            <a:solidFill>
              <a:srgbClr val="F1BE48"/>
            </a:solidFill>
          </p:grpSpPr>
          <p:sp>
            <p:nvSpPr>
              <p:cNvPr id="26" name="Freeform 58">
                <a:extLst>
                  <a:ext uri="{FF2B5EF4-FFF2-40B4-BE49-F238E27FC236}">
                    <a16:creationId xmlns:a16="http://schemas.microsoft.com/office/drawing/2014/main" id="{277CBC53-6CE1-49B3-AD38-59F15420795E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8747125" y="4187825"/>
                <a:ext cx="596900" cy="860425"/>
              </a:xfrm>
              <a:custGeom>
                <a:avLst/>
                <a:gdLst/>
                <a:ahLst/>
                <a:cxnLst>
                  <a:cxn ang="0">
                    <a:pos x="370" y="60"/>
                  </a:cxn>
                  <a:cxn ang="0">
                    <a:pos x="306" y="10"/>
                  </a:cxn>
                  <a:cxn ang="0">
                    <a:pos x="290" y="0"/>
                  </a:cxn>
                  <a:cxn ang="0">
                    <a:pos x="240" y="106"/>
                  </a:cxn>
                  <a:cxn ang="0">
                    <a:pos x="240" y="106"/>
                  </a:cxn>
                  <a:cxn ang="0">
                    <a:pos x="240" y="118"/>
                  </a:cxn>
                  <a:cxn ang="0">
                    <a:pos x="240" y="124"/>
                  </a:cxn>
                  <a:cxn ang="0">
                    <a:pos x="236" y="128"/>
                  </a:cxn>
                  <a:cxn ang="0">
                    <a:pos x="162" y="260"/>
                  </a:cxn>
                  <a:cxn ang="0">
                    <a:pos x="160" y="260"/>
                  </a:cxn>
                  <a:cxn ang="0">
                    <a:pos x="86" y="392"/>
                  </a:cxn>
                  <a:cxn ang="0">
                    <a:pos x="86" y="392"/>
                  </a:cxn>
                  <a:cxn ang="0">
                    <a:pos x="82" y="398"/>
                  </a:cxn>
                  <a:cxn ang="0">
                    <a:pos x="78" y="400"/>
                  </a:cxn>
                  <a:cxn ang="0">
                    <a:pos x="68" y="406"/>
                  </a:cxn>
                  <a:cxn ang="0">
                    <a:pos x="0" y="504"/>
                  </a:cxn>
                  <a:cxn ang="0">
                    <a:pos x="18" y="512"/>
                  </a:cxn>
                  <a:cxn ang="0">
                    <a:pos x="94" y="542"/>
                  </a:cxn>
                  <a:cxn ang="0">
                    <a:pos x="94" y="542"/>
                  </a:cxn>
                  <a:cxn ang="0">
                    <a:pos x="98" y="542"/>
                  </a:cxn>
                  <a:cxn ang="0">
                    <a:pos x="104" y="542"/>
                  </a:cxn>
                  <a:cxn ang="0">
                    <a:pos x="110" y="540"/>
                  </a:cxn>
                  <a:cxn ang="0">
                    <a:pos x="116" y="536"/>
                  </a:cxn>
                  <a:cxn ang="0">
                    <a:pos x="126" y="524"/>
                  </a:cxn>
                  <a:cxn ang="0">
                    <a:pos x="136" y="510"/>
                  </a:cxn>
                  <a:cxn ang="0">
                    <a:pos x="220" y="372"/>
                  </a:cxn>
                  <a:cxn ang="0">
                    <a:pos x="252" y="314"/>
                  </a:cxn>
                  <a:cxn ang="0">
                    <a:pos x="254" y="314"/>
                  </a:cxn>
                  <a:cxn ang="0">
                    <a:pos x="286" y="256"/>
                  </a:cxn>
                  <a:cxn ang="0">
                    <a:pos x="364" y="114"/>
                  </a:cxn>
                  <a:cxn ang="0">
                    <a:pos x="364" y="114"/>
                  </a:cxn>
                  <a:cxn ang="0">
                    <a:pos x="370" y="98"/>
                  </a:cxn>
                  <a:cxn ang="0">
                    <a:pos x="376" y="84"/>
                  </a:cxn>
                  <a:cxn ang="0">
                    <a:pos x="376" y="76"/>
                  </a:cxn>
                  <a:cxn ang="0">
                    <a:pos x="376" y="70"/>
                  </a:cxn>
                  <a:cxn ang="0">
                    <a:pos x="374" y="66"/>
                  </a:cxn>
                  <a:cxn ang="0">
                    <a:pos x="370" y="60"/>
                  </a:cxn>
                  <a:cxn ang="0">
                    <a:pos x="370" y="60"/>
                  </a:cxn>
                </a:cxnLst>
                <a:rect l="0" t="0" r="r" b="b"/>
                <a:pathLst>
                  <a:path w="376" h="542">
                    <a:moveTo>
                      <a:pt x="370" y="60"/>
                    </a:moveTo>
                    <a:lnTo>
                      <a:pt x="306" y="10"/>
                    </a:lnTo>
                    <a:lnTo>
                      <a:pt x="290" y="0"/>
                    </a:lnTo>
                    <a:lnTo>
                      <a:pt x="240" y="106"/>
                    </a:lnTo>
                    <a:lnTo>
                      <a:pt x="240" y="106"/>
                    </a:lnTo>
                    <a:lnTo>
                      <a:pt x="240" y="118"/>
                    </a:lnTo>
                    <a:lnTo>
                      <a:pt x="240" y="124"/>
                    </a:lnTo>
                    <a:lnTo>
                      <a:pt x="236" y="128"/>
                    </a:lnTo>
                    <a:lnTo>
                      <a:pt x="162" y="260"/>
                    </a:lnTo>
                    <a:lnTo>
                      <a:pt x="160" y="260"/>
                    </a:lnTo>
                    <a:lnTo>
                      <a:pt x="86" y="392"/>
                    </a:lnTo>
                    <a:lnTo>
                      <a:pt x="86" y="392"/>
                    </a:lnTo>
                    <a:lnTo>
                      <a:pt x="82" y="398"/>
                    </a:lnTo>
                    <a:lnTo>
                      <a:pt x="78" y="400"/>
                    </a:lnTo>
                    <a:lnTo>
                      <a:pt x="68" y="406"/>
                    </a:lnTo>
                    <a:lnTo>
                      <a:pt x="0" y="504"/>
                    </a:lnTo>
                    <a:lnTo>
                      <a:pt x="18" y="512"/>
                    </a:lnTo>
                    <a:lnTo>
                      <a:pt x="94" y="542"/>
                    </a:lnTo>
                    <a:lnTo>
                      <a:pt x="94" y="542"/>
                    </a:lnTo>
                    <a:lnTo>
                      <a:pt x="98" y="542"/>
                    </a:lnTo>
                    <a:lnTo>
                      <a:pt x="104" y="542"/>
                    </a:lnTo>
                    <a:lnTo>
                      <a:pt x="110" y="540"/>
                    </a:lnTo>
                    <a:lnTo>
                      <a:pt x="116" y="536"/>
                    </a:lnTo>
                    <a:lnTo>
                      <a:pt x="126" y="524"/>
                    </a:lnTo>
                    <a:lnTo>
                      <a:pt x="136" y="510"/>
                    </a:lnTo>
                    <a:lnTo>
                      <a:pt x="220" y="372"/>
                    </a:lnTo>
                    <a:lnTo>
                      <a:pt x="252" y="314"/>
                    </a:lnTo>
                    <a:lnTo>
                      <a:pt x="254" y="314"/>
                    </a:lnTo>
                    <a:lnTo>
                      <a:pt x="286" y="256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70" y="98"/>
                    </a:lnTo>
                    <a:lnTo>
                      <a:pt x="376" y="84"/>
                    </a:lnTo>
                    <a:lnTo>
                      <a:pt x="376" y="76"/>
                    </a:lnTo>
                    <a:lnTo>
                      <a:pt x="376" y="70"/>
                    </a:lnTo>
                    <a:lnTo>
                      <a:pt x="374" y="66"/>
                    </a:lnTo>
                    <a:lnTo>
                      <a:pt x="370" y="60"/>
                    </a:lnTo>
                    <a:lnTo>
                      <a:pt x="370" y="6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27" name="Freeform 59">
                <a:extLst>
                  <a:ext uri="{FF2B5EF4-FFF2-40B4-BE49-F238E27FC236}">
                    <a16:creationId xmlns:a16="http://schemas.microsoft.com/office/drawing/2014/main" id="{50E032E4-F81F-47FF-82BA-71680BB28015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8677275" y="4787900"/>
                <a:ext cx="161925" cy="190500"/>
              </a:xfrm>
              <a:custGeom>
                <a:avLst/>
                <a:gdLst/>
                <a:ahLst/>
                <a:cxnLst>
                  <a:cxn ang="0">
                    <a:pos x="48" y="6"/>
                  </a:cxn>
                  <a:cxn ang="0">
                    <a:pos x="38" y="22"/>
                  </a:cxn>
                  <a:cxn ang="0">
                    <a:pos x="38" y="22"/>
                  </a:cxn>
                  <a:cxn ang="0">
                    <a:pos x="34" y="34"/>
                  </a:cxn>
                  <a:cxn ang="0">
                    <a:pos x="28" y="48"/>
                  </a:cxn>
                  <a:cxn ang="0">
                    <a:pos x="28" y="48"/>
                  </a:cxn>
                  <a:cxn ang="0">
                    <a:pos x="20" y="58"/>
                  </a:cxn>
                  <a:cxn ang="0">
                    <a:pos x="12" y="68"/>
                  </a:cxn>
                  <a:cxn ang="0">
                    <a:pos x="2" y="84"/>
                  </a:cxn>
                  <a:cxn ang="0">
                    <a:pos x="2" y="84"/>
                  </a:cxn>
                  <a:cxn ang="0">
                    <a:pos x="0" y="90"/>
                  </a:cxn>
                  <a:cxn ang="0">
                    <a:pos x="0" y="94"/>
                  </a:cxn>
                  <a:cxn ang="0">
                    <a:pos x="4" y="100"/>
                  </a:cxn>
                  <a:cxn ang="0">
                    <a:pos x="8" y="104"/>
                  </a:cxn>
                  <a:cxn ang="0">
                    <a:pos x="34" y="120"/>
                  </a:cxn>
                  <a:cxn ang="0">
                    <a:pos x="102" y="22"/>
                  </a:cxn>
                  <a:cxn ang="0">
                    <a:pos x="66" y="2"/>
                  </a:cxn>
                  <a:cxn ang="0">
                    <a:pos x="66" y="2"/>
                  </a:cxn>
                  <a:cxn ang="0">
                    <a:pos x="60" y="0"/>
                  </a:cxn>
                  <a:cxn ang="0">
                    <a:pos x="56" y="0"/>
                  </a:cxn>
                  <a:cxn ang="0">
                    <a:pos x="50" y="2"/>
                  </a:cxn>
                  <a:cxn ang="0">
                    <a:pos x="48" y="6"/>
                  </a:cxn>
                  <a:cxn ang="0">
                    <a:pos x="48" y="6"/>
                  </a:cxn>
                </a:cxnLst>
                <a:rect l="0" t="0" r="r" b="b"/>
                <a:pathLst>
                  <a:path w="102" h="120">
                    <a:moveTo>
                      <a:pt x="48" y="6"/>
                    </a:moveTo>
                    <a:lnTo>
                      <a:pt x="38" y="22"/>
                    </a:lnTo>
                    <a:lnTo>
                      <a:pt x="38" y="22"/>
                    </a:lnTo>
                    <a:lnTo>
                      <a:pt x="34" y="3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0" y="58"/>
                    </a:lnTo>
                    <a:lnTo>
                      <a:pt x="12" y="68"/>
                    </a:lnTo>
                    <a:lnTo>
                      <a:pt x="2" y="84"/>
                    </a:lnTo>
                    <a:lnTo>
                      <a:pt x="2" y="84"/>
                    </a:lnTo>
                    <a:lnTo>
                      <a:pt x="0" y="90"/>
                    </a:lnTo>
                    <a:lnTo>
                      <a:pt x="0" y="94"/>
                    </a:lnTo>
                    <a:lnTo>
                      <a:pt x="4" y="100"/>
                    </a:lnTo>
                    <a:lnTo>
                      <a:pt x="8" y="104"/>
                    </a:lnTo>
                    <a:lnTo>
                      <a:pt x="34" y="120"/>
                    </a:lnTo>
                    <a:lnTo>
                      <a:pt x="102" y="22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0" y="2"/>
                    </a:lnTo>
                    <a:lnTo>
                      <a:pt x="48" y="6"/>
                    </a:lnTo>
                    <a:lnTo>
                      <a:pt x="48" y="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28" name="Freeform 60">
                <a:extLst>
                  <a:ext uri="{FF2B5EF4-FFF2-40B4-BE49-F238E27FC236}">
                    <a16:creationId xmlns:a16="http://schemas.microsoft.com/office/drawing/2014/main" id="{54483DB7-C43F-4A45-8A7A-429FC6CFDA4E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9042400" y="4149725"/>
                <a:ext cx="149225" cy="200025"/>
              </a:xfrm>
              <a:custGeom>
                <a:avLst/>
                <a:gdLst/>
                <a:ahLst/>
                <a:cxnLst>
                  <a:cxn ang="0">
                    <a:pos x="8" y="104"/>
                  </a:cxn>
                  <a:cxn ang="0">
                    <a:pos x="44" y="126"/>
                  </a:cxn>
                  <a:cxn ang="0">
                    <a:pos x="94" y="18"/>
                  </a:cxn>
                  <a:cxn ang="0">
                    <a:pos x="66" y="2"/>
                  </a:cxn>
                  <a:cxn ang="0">
                    <a:pos x="66" y="2"/>
                  </a:cxn>
                  <a:cxn ang="0">
                    <a:pos x="62" y="0"/>
                  </a:cxn>
                  <a:cxn ang="0">
                    <a:pos x="56" y="0"/>
                  </a:cxn>
                  <a:cxn ang="0">
                    <a:pos x="50" y="2"/>
                  </a:cxn>
                  <a:cxn ang="0">
                    <a:pos x="48" y="6"/>
                  </a:cxn>
                  <a:cxn ang="0">
                    <a:pos x="40" y="20"/>
                  </a:cxn>
                  <a:cxn ang="0">
                    <a:pos x="40" y="20"/>
                  </a:cxn>
                  <a:cxn ang="0">
                    <a:pos x="36" y="34"/>
                  </a:cxn>
                  <a:cxn ang="0">
                    <a:pos x="28" y="48"/>
                  </a:cxn>
                  <a:cxn ang="0">
                    <a:pos x="28" y="48"/>
                  </a:cxn>
                  <a:cxn ang="0">
                    <a:pos x="20" y="62"/>
                  </a:cxn>
                  <a:cxn ang="0">
                    <a:pos x="10" y="72"/>
                  </a:cxn>
                  <a:cxn ang="0">
                    <a:pos x="2" y="86"/>
                  </a:cxn>
                  <a:cxn ang="0">
                    <a:pos x="2" y="86"/>
                  </a:cxn>
                  <a:cxn ang="0">
                    <a:pos x="0" y="90"/>
                  </a:cxn>
                  <a:cxn ang="0">
                    <a:pos x="0" y="96"/>
                  </a:cxn>
                  <a:cxn ang="0">
                    <a:pos x="4" y="100"/>
                  </a:cxn>
                  <a:cxn ang="0">
                    <a:pos x="8" y="104"/>
                  </a:cxn>
                  <a:cxn ang="0">
                    <a:pos x="8" y="104"/>
                  </a:cxn>
                </a:cxnLst>
                <a:rect l="0" t="0" r="r" b="b"/>
                <a:pathLst>
                  <a:path w="94" h="126">
                    <a:moveTo>
                      <a:pt x="8" y="104"/>
                    </a:moveTo>
                    <a:lnTo>
                      <a:pt x="44" y="126"/>
                    </a:lnTo>
                    <a:lnTo>
                      <a:pt x="94" y="18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2" y="0"/>
                    </a:lnTo>
                    <a:lnTo>
                      <a:pt x="56" y="0"/>
                    </a:lnTo>
                    <a:lnTo>
                      <a:pt x="50" y="2"/>
                    </a:lnTo>
                    <a:lnTo>
                      <a:pt x="48" y="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6" y="3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0" y="62"/>
                    </a:lnTo>
                    <a:lnTo>
                      <a:pt x="10" y="72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0" y="90"/>
                    </a:lnTo>
                    <a:lnTo>
                      <a:pt x="0" y="96"/>
                    </a:lnTo>
                    <a:lnTo>
                      <a:pt x="4" y="100"/>
                    </a:lnTo>
                    <a:lnTo>
                      <a:pt x="8" y="104"/>
                    </a:lnTo>
                    <a:lnTo>
                      <a:pt x="8" y="10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sp>
            <p:nvSpPr>
              <p:cNvPr id="29" name="Freeform 61">
                <a:extLst>
                  <a:ext uri="{FF2B5EF4-FFF2-40B4-BE49-F238E27FC236}">
                    <a16:creationId xmlns:a16="http://schemas.microsoft.com/office/drawing/2014/main" id="{C366EE66-9166-486E-9B83-A0DB5439402C}"/>
                  </a:ext>
                </a:extLst>
              </p:cNvPr>
              <p:cNvSpPr>
                <a:spLocks/>
              </p:cNvSpPr>
              <p:nvPr/>
            </p:nvSpPr>
            <p:spPr bwMode="black">
              <a:xfrm>
                <a:off x="8553450" y="4416425"/>
                <a:ext cx="288925" cy="660400"/>
              </a:xfrm>
              <a:custGeom>
                <a:avLst/>
                <a:gdLst/>
                <a:ahLst/>
                <a:cxnLst>
                  <a:cxn ang="0">
                    <a:pos x="38" y="16"/>
                  </a:cxn>
                  <a:cxn ang="0">
                    <a:pos x="68" y="10"/>
                  </a:cxn>
                  <a:cxn ang="0">
                    <a:pos x="114" y="8"/>
                  </a:cxn>
                  <a:cxn ang="0">
                    <a:pos x="144" y="14"/>
                  </a:cxn>
                  <a:cxn ang="0">
                    <a:pos x="158" y="32"/>
                  </a:cxn>
                  <a:cxn ang="0">
                    <a:pos x="160" y="56"/>
                  </a:cxn>
                  <a:cxn ang="0">
                    <a:pos x="150" y="86"/>
                  </a:cxn>
                  <a:cxn ang="0">
                    <a:pos x="124" y="138"/>
                  </a:cxn>
                  <a:cxn ang="0">
                    <a:pos x="48" y="258"/>
                  </a:cxn>
                  <a:cxn ang="0">
                    <a:pos x="10" y="332"/>
                  </a:cxn>
                  <a:cxn ang="0">
                    <a:pos x="2" y="362"/>
                  </a:cxn>
                  <a:cxn ang="0">
                    <a:pos x="2" y="388"/>
                  </a:cxn>
                  <a:cxn ang="0">
                    <a:pos x="16" y="406"/>
                  </a:cxn>
                  <a:cxn ang="0">
                    <a:pos x="46" y="414"/>
                  </a:cxn>
                  <a:cxn ang="0">
                    <a:pos x="60" y="416"/>
                  </a:cxn>
                  <a:cxn ang="0">
                    <a:pos x="118" y="410"/>
                  </a:cxn>
                  <a:cxn ang="0">
                    <a:pos x="140" y="404"/>
                  </a:cxn>
                  <a:cxn ang="0">
                    <a:pos x="146" y="392"/>
                  </a:cxn>
                  <a:cxn ang="0">
                    <a:pos x="112" y="400"/>
                  </a:cxn>
                  <a:cxn ang="0">
                    <a:pos x="64" y="404"/>
                  </a:cxn>
                  <a:cxn ang="0">
                    <a:pos x="36" y="394"/>
                  </a:cxn>
                  <a:cxn ang="0">
                    <a:pos x="28" y="386"/>
                  </a:cxn>
                  <a:cxn ang="0">
                    <a:pos x="26" y="360"/>
                  </a:cxn>
                  <a:cxn ang="0">
                    <a:pos x="36" y="328"/>
                  </a:cxn>
                  <a:cxn ang="0">
                    <a:pos x="54" y="290"/>
                  </a:cxn>
                  <a:cxn ang="0">
                    <a:pos x="108" y="202"/>
                  </a:cxn>
                  <a:cxn ang="0">
                    <a:pos x="158" y="114"/>
                  </a:cxn>
                  <a:cxn ang="0">
                    <a:pos x="176" y="76"/>
                  </a:cxn>
                  <a:cxn ang="0">
                    <a:pos x="182" y="42"/>
                  </a:cxn>
                  <a:cxn ang="0">
                    <a:pos x="176" y="18"/>
                  </a:cxn>
                  <a:cxn ang="0">
                    <a:pos x="166" y="8"/>
                  </a:cxn>
                  <a:cxn ang="0">
                    <a:pos x="132" y="0"/>
                  </a:cxn>
                  <a:cxn ang="0">
                    <a:pos x="78" y="2"/>
                  </a:cxn>
                  <a:cxn ang="0">
                    <a:pos x="40" y="10"/>
                  </a:cxn>
                </a:cxnLst>
                <a:rect l="0" t="0" r="r" b="b"/>
                <a:pathLst>
                  <a:path w="182" h="416">
                    <a:moveTo>
                      <a:pt x="40" y="10"/>
                    </a:moveTo>
                    <a:lnTo>
                      <a:pt x="38" y="16"/>
                    </a:lnTo>
                    <a:lnTo>
                      <a:pt x="38" y="16"/>
                    </a:lnTo>
                    <a:lnTo>
                      <a:pt x="68" y="10"/>
                    </a:lnTo>
                    <a:lnTo>
                      <a:pt x="94" y="8"/>
                    </a:lnTo>
                    <a:lnTo>
                      <a:pt x="114" y="8"/>
                    </a:lnTo>
                    <a:lnTo>
                      <a:pt x="132" y="10"/>
                    </a:lnTo>
                    <a:lnTo>
                      <a:pt x="144" y="14"/>
                    </a:lnTo>
                    <a:lnTo>
                      <a:pt x="152" y="22"/>
                    </a:lnTo>
                    <a:lnTo>
                      <a:pt x="158" y="32"/>
                    </a:lnTo>
                    <a:lnTo>
                      <a:pt x="160" y="42"/>
                    </a:lnTo>
                    <a:lnTo>
                      <a:pt x="160" y="56"/>
                    </a:lnTo>
                    <a:lnTo>
                      <a:pt x="156" y="70"/>
                    </a:lnTo>
                    <a:lnTo>
                      <a:pt x="150" y="86"/>
                    </a:lnTo>
                    <a:lnTo>
                      <a:pt x="142" y="102"/>
                    </a:lnTo>
                    <a:lnTo>
                      <a:pt x="124" y="138"/>
                    </a:lnTo>
                    <a:lnTo>
                      <a:pt x="100" y="178"/>
                    </a:lnTo>
                    <a:lnTo>
                      <a:pt x="48" y="258"/>
                    </a:lnTo>
                    <a:lnTo>
                      <a:pt x="26" y="296"/>
                    </a:lnTo>
                    <a:lnTo>
                      <a:pt x="10" y="332"/>
                    </a:lnTo>
                    <a:lnTo>
                      <a:pt x="4" y="348"/>
                    </a:lnTo>
                    <a:lnTo>
                      <a:pt x="2" y="362"/>
                    </a:lnTo>
                    <a:lnTo>
                      <a:pt x="0" y="376"/>
                    </a:lnTo>
                    <a:lnTo>
                      <a:pt x="2" y="388"/>
                    </a:lnTo>
                    <a:lnTo>
                      <a:pt x="8" y="398"/>
                    </a:lnTo>
                    <a:lnTo>
                      <a:pt x="16" y="406"/>
                    </a:lnTo>
                    <a:lnTo>
                      <a:pt x="28" y="412"/>
                    </a:lnTo>
                    <a:lnTo>
                      <a:pt x="46" y="414"/>
                    </a:lnTo>
                    <a:lnTo>
                      <a:pt x="46" y="414"/>
                    </a:lnTo>
                    <a:lnTo>
                      <a:pt x="60" y="416"/>
                    </a:lnTo>
                    <a:lnTo>
                      <a:pt x="78" y="414"/>
                    </a:lnTo>
                    <a:lnTo>
                      <a:pt x="118" y="410"/>
                    </a:lnTo>
                    <a:lnTo>
                      <a:pt x="118" y="410"/>
                    </a:lnTo>
                    <a:lnTo>
                      <a:pt x="140" y="404"/>
                    </a:lnTo>
                    <a:lnTo>
                      <a:pt x="164" y="398"/>
                    </a:lnTo>
                    <a:lnTo>
                      <a:pt x="146" y="392"/>
                    </a:lnTo>
                    <a:lnTo>
                      <a:pt x="146" y="392"/>
                    </a:lnTo>
                    <a:lnTo>
                      <a:pt x="112" y="400"/>
                    </a:lnTo>
                    <a:lnTo>
                      <a:pt x="86" y="402"/>
                    </a:lnTo>
                    <a:lnTo>
                      <a:pt x="64" y="404"/>
                    </a:lnTo>
                    <a:lnTo>
                      <a:pt x="48" y="400"/>
                    </a:lnTo>
                    <a:lnTo>
                      <a:pt x="36" y="394"/>
                    </a:lnTo>
                    <a:lnTo>
                      <a:pt x="32" y="390"/>
                    </a:lnTo>
                    <a:lnTo>
                      <a:pt x="28" y="386"/>
                    </a:lnTo>
                    <a:lnTo>
                      <a:pt x="26" y="374"/>
                    </a:lnTo>
                    <a:lnTo>
                      <a:pt x="26" y="360"/>
                    </a:lnTo>
                    <a:lnTo>
                      <a:pt x="30" y="346"/>
                    </a:lnTo>
                    <a:lnTo>
                      <a:pt x="36" y="328"/>
                    </a:lnTo>
                    <a:lnTo>
                      <a:pt x="44" y="310"/>
                    </a:lnTo>
                    <a:lnTo>
                      <a:pt x="54" y="290"/>
                    </a:lnTo>
                    <a:lnTo>
                      <a:pt x="80" y="246"/>
                    </a:lnTo>
                    <a:lnTo>
                      <a:pt x="108" y="202"/>
                    </a:lnTo>
                    <a:lnTo>
                      <a:pt x="134" y="158"/>
                    </a:lnTo>
                    <a:lnTo>
                      <a:pt x="158" y="114"/>
                    </a:lnTo>
                    <a:lnTo>
                      <a:pt x="168" y="94"/>
                    </a:lnTo>
                    <a:lnTo>
                      <a:pt x="176" y="76"/>
                    </a:lnTo>
                    <a:lnTo>
                      <a:pt x="180" y="58"/>
                    </a:lnTo>
                    <a:lnTo>
                      <a:pt x="182" y="42"/>
                    </a:lnTo>
                    <a:lnTo>
                      <a:pt x="180" y="30"/>
                    </a:lnTo>
                    <a:lnTo>
                      <a:pt x="176" y="18"/>
                    </a:lnTo>
                    <a:lnTo>
                      <a:pt x="170" y="12"/>
                    </a:lnTo>
                    <a:lnTo>
                      <a:pt x="166" y="8"/>
                    </a:lnTo>
                    <a:lnTo>
                      <a:pt x="152" y="2"/>
                    </a:lnTo>
                    <a:lnTo>
                      <a:pt x="132" y="0"/>
                    </a:lnTo>
                    <a:lnTo>
                      <a:pt x="108" y="0"/>
                    </a:lnTo>
                    <a:lnTo>
                      <a:pt x="78" y="2"/>
                    </a:lnTo>
                    <a:lnTo>
                      <a:pt x="40" y="10"/>
                    </a:lnTo>
                    <a:lnTo>
                      <a:pt x="40" y="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0" name="TextBox 69">
              <a:extLst>
                <a:ext uri="{FF2B5EF4-FFF2-40B4-BE49-F238E27FC236}">
                  <a16:creationId xmlns:a16="http://schemas.microsoft.com/office/drawing/2014/main" id="{2EEBF377-8B90-4043-910C-A95763E5B09B}"/>
                </a:ext>
              </a:extLst>
            </p:cNvPr>
            <p:cNvSpPr txBox="1"/>
            <p:nvPr/>
          </p:nvSpPr>
          <p:spPr bwMode="black">
            <a:xfrm>
              <a:off x="9007583" y="4067089"/>
              <a:ext cx="1526059" cy="22576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pPr marL="6351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67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+420</a:t>
              </a:r>
              <a:r>
                <a:rPr kumimoji="0" lang="cs-CZ" sz="1467" b="0" i="0" u="none" strike="noStrike" kern="1200" cap="none" spc="0" normalizeH="0" baseline="0" noProof="0" dirty="0">
                  <a:ln>
                    <a:noFill/>
                  </a:ln>
                  <a:solidFill>
                    <a:srgbClr val="405A9C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 774 646 799</a:t>
              </a:r>
              <a:endPara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405A9C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56103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cs-CZ" dirty="0"/>
              <a:t>HLAVNÍ ZÁVĚRY</a:t>
            </a:r>
          </a:p>
        </p:txBody>
      </p:sp>
      <p:sp>
        <p:nvSpPr>
          <p:cNvPr id="12" name="Zástupný symbol pro obsah 3">
            <a:extLst>
              <a:ext uri="{FF2B5EF4-FFF2-40B4-BE49-F238E27FC236}">
                <a16:creationId xmlns:a16="http://schemas.microsoft.com/office/drawing/2014/main" id="{F1544787-BDF3-42ED-AAB5-4E20D782C97B}"/>
              </a:ext>
            </a:extLst>
          </p:cNvPr>
          <p:cNvSpPr txBox="1">
            <a:spLocks/>
          </p:cNvSpPr>
          <p:nvPr/>
        </p:nvSpPr>
        <p:spPr>
          <a:xfrm>
            <a:off x="1591201" y="1136937"/>
            <a:ext cx="9884937" cy="4831541"/>
          </a:xfrm>
          <a:prstGeom prst="rect">
            <a:avLst/>
          </a:prstGeom>
        </p:spPr>
        <p:txBody>
          <a:bodyPr lIns="0" tIns="0" rIns="0" bIns="0"/>
          <a:lstStyle>
            <a:lvl1pPr marL="380990" indent="-380990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21749" indent="-26880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02207" indent="-239173" algn="l" defTabSz="1219140" rtl="0" eaLnBrk="1" latinLnBrk="0" hangingPunct="1">
              <a:spcBef>
                <a:spcPct val="20000"/>
              </a:spcBef>
              <a:buSzPct val="80000"/>
              <a:buFont typeface="Courier New" panose="02070309020205020404" pitchFamily="49" charset="0"/>
              <a:buChar char="o"/>
              <a:defRPr sz="18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67850" indent="-239173" algn="l" defTabSz="1219140" rtl="0" eaLnBrk="1" latinLnBrk="0" hangingPunct="1">
              <a:spcBef>
                <a:spcPct val="20000"/>
              </a:spcBef>
              <a:buSzPct val="90000"/>
              <a:buFont typeface="Arial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4306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667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335263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cs-CZ" sz="1900" b="1" dirty="0"/>
              <a:t>Přibližně </a:t>
            </a:r>
            <a:r>
              <a:rPr lang="cs-CZ" sz="1900" b="1" dirty="0">
                <a:solidFill>
                  <a:srgbClr val="ED6737"/>
                </a:solidFill>
              </a:rPr>
              <a:t>třetina firem vlastní nějaká registrovaná práva duševního vlastnictví</a:t>
            </a:r>
            <a:r>
              <a:rPr lang="cs-CZ" sz="1900" b="1" dirty="0"/>
              <a:t>. Nejčastěji jde o ochranné známky a užitné vzory.</a:t>
            </a:r>
          </a:p>
          <a:p>
            <a:pPr marL="0" indent="0" fontAlgn="ctr">
              <a:buNone/>
            </a:pPr>
            <a:endParaRPr lang="cs-CZ" sz="1900" dirty="0"/>
          </a:p>
          <a:p>
            <a:pPr marL="0" indent="0" fontAlgn="b">
              <a:buNone/>
            </a:pPr>
            <a:r>
              <a:rPr lang="cs-CZ" sz="1900" b="1" dirty="0"/>
              <a:t>Celkově firmy využívající práva duševního vlastnictví </a:t>
            </a:r>
            <a:r>
              <a:rPr lang="cs-CZ" sz="1900" b="1" dirty="0">
                <a:solidFill>
                  <a:srgbClr val="ED6737"/>
                </a:solidFill>
              </a:rPr>
              <a:t>hodnotí jejich vliv na své podnikání převážně kladně.</a:t>
            </a:r>
            <a:br>
              <a:rPr lang="cs-CZ" sz="1900" b="1" dirty="0">
                <a:solidFill>
                  <a:srgbClr val="ED6737"/>
                </a:solidFill>
              </a:rPr>
            </a:br>
            <a:br>
              <a:rPr lang="cs-CZ" sz="1900" b="1" dirty="0">
                <a:solidFill>
                  <a:srgbClr val="ED6737"/>
                </a:solidFill>
              </a:rPr>
            </a:br>
            <a:r>
              <a:rPr lang="cs-CZ" sz="1900" b="1" dirty="0"/>
              <a:t>Firmy nevyužívající práva duševního vlastnictví často uvádějí, že by jejich duševní vlastnictví </a:t>
            </a:r>
            <a:r>
              <a:rPr lang="cs-CZ" sz="1900" b="1" dirty="0">
                <a:solidFill>
                  <a:srgbClr val="ED6737"/>
                </a:solidFill>
              </a:rPr>
              <a:t>nesplňovalo požadavky předpisů o právech duševního vlastnictví (32 %) </a:t>
            </a:r>
            <a:r>
              <a:rPr lang="cs-CZ" sz="1900" b="1" dirty="0"/>
              <a:t>nebo </a:t>
            </a:r>
            <a:r>
              <a:rPr lang="cs-CZ" sz="1900" b="1" dirty="0">
                <a:solidFill>
                  <a:srgbClr val="ED6737"/>
                </a:solidFill>
              </a:rPr>
              <a:t>nebylo dostatečně inovativní (23 %).</a:t>
            </a:r>
            <a:br>
              <a:rPr lang="cs-CZ" sz="1900" b="1" dirty="0">
                <a:solidFill>
                  <a:srgbClr val="ED6737"/>
                </a:solidFill>
              </a:rPr>
            </a:br>
            <a:br>
              <a:rPr lang="cs-CZ" sz="1900" b="1" dirty="0">
                <a:solidFill>
                  <a:srgbClr val="ED6737"/>
                </a:solidFill>
              </a:rPr>
            </a:br>
            <a:r>
              <a:rPr lang="cs-CZ" sz="1900" b="1" dirty="0">
                <a:solidFill>
                  <a:srgbClr val="ED6737"/>
                </a:solidFill>
              </a:rPr>
              <a:t>Dvě třetiny firem se domnívají, že je důležité, aby podniky rozuměly právům duševního vlastnictví. </a:t>
            </a:r>
            <a:r>
              <a:rPr lang="cs-CZ" sz="1900" b="1" dirty="0"/>
              <a:t>Zároveň ale pouze třetina podniků uvedla, že se </a:t>
            </a:r>
            <a:br>
              <a:rPr lang="cs-CZ" sz="1900" b="1" dirty="0"/>
            </a:br>
            <a:r>
              <a:rPr lang="cs-CZ" sz="1900" b="1" dirty="0"/>
              <a:t>v otázkách duševního vlastnictví dobře vyzná.</a:t>
            </a:r>
            <a:br>
              <a:rPr lang="cs-CZ" sz="1900" b="1" dirty="0"/>
            </a:br>
            <a:br>
              <a:rPr lang="cs-CZ" sz="1900" b="1" dirty="0"/>
            </a:br>
            <a:r>
              <a:rPr lang="cs-CZ" sz="1900" b="1" dirty="0"/>
              <a:t>Pokud jde o informační zdroje týkající se duševního vlastnictví, </a:t>
            </a:r>
            <a:r>
              <a:rPr lang="cs-CZ" sz="1900" b="1" dirty="0">
                <a:solidFill>
                  <a:srgbClr val="ED6737"/>
                </a:solidFill>
              </a:rPr>
              <a:t>firmy často využívají internetu nebo informací od obchodních poradců. </a:t>
            </a:r>
            <a:endParaRPr lang="cs-CZ" sz="1900" b="1" dirty="0"/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5</a:t>
            </a:fld>
            <a:r>
              <a:rPr lang="en-GB" dirty="0"/>
              <a:t> 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10E8A2A-96A3-40E3-A68A-60D09FA9E6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EED4E86-CE09-F676-FCD4-5D0E23B9D789}"/>
              </a:ext>
            </a:extLst>
          </p:cNvPr>
          <p:cNvGrpSpPr>
            <a:grpSpLocks noChangeAspect="1"/>
          </p:cNvGrpSpPr>
          <p:nvPr/>
        </p:nvGrpSpPr>
        <p:grpSpPr>
          <a:xfrm>
            <a:off x="581025" y="1136937"/>
            <a:ext cx="754334" cy="480131"/>
            <a:chOff x="4875864" y="1375860"/>
            <a:chExt cx="1113798" cy="708930"/>
          </a:xfrm>
          <a:solidFill>
            <a:schemeClr val="bg1"/>
          </a:solidFill>
        </p:grpSpPr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884E25E-E969-74B8-DC80-C97E7083DE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5864" y="1888140"/>
              <a:ext cx="611983" cy="196650"/>
            </a:xfrm>
            <a:custGeom>
              <a:avLst/>
              <a:gdLst/>
              <a:ahLst/>
              <a:cxnLst>
                <a:cxn ang="0">
                  <a:pos x="408" y="25"/>
                </a:cxn>
                <a:cxn ang="0">
                  <a:pos x="235" y="0"/>
                </a:cxn>
                <a:cxn ang="0">
                  <a:pos x="61" y="26"/>
                </a:cxn>
                <a:cxn ang="0">
                  <a:pos x="0" y="113"/>
                </a:cxn>
                <a:cxn ang="0">
                  <a:pos x="235" y="151"/>
                </a:cxn>
                <a:cxn ang="0">
                  <a:pos x="470" y="113"/>
                </a:cxn>
                <a:cxn ang="0">
                  <a:pos x="408" y="25"/>
                </a:cxn>
                <a:cxn ang="0">
                  <a:pos x="408" y="25"/>
                </a:cxn>
                <a:cxn ang="0">
                  <a:pos x="235" y="57"/>
                </a:cxn>
                <a:cxn ang="0">
                  <a:pos x="78" y="32"/>
                </a:cxn>
                <a:cxn ang="0">
                  <a:pos x="235" y="7"/>
                </a:cxn>
                <a:cxn ang="0">
                  <a:pos x="391" y="32"/>
                </a:cxn>
                <a:cxn ang="0">
                  <a:pos x="235" y="57"/>
                </a:cxn>
              </a:cxnLst>
              <a:rect l="0" t="0" r="r" b="b"/>
              <a:pathLst>
                <a:path w="470" h="151">
                  <a:moveTo>
                    <a:pt x="408" y="25"/>
                  </a:moveTo>
                  <a:cubicBezTo>
                    <a:pt x="400" y="11"/>
                    <a:pt x="325" y="0"/>
                    <a:pt x="235" y="0"/>
                  </a:cubicBezTo>
                  <a:cubicBezTo>
                    <a:pt x="144" y="0"/>
                    <a:pt x="69" y="11"/>
                    <a:pt x="61" y="26"/>
                  </a:cubicBezTo>
                  <a:cubicBezTo>
                    <a:pt x="42" y="52"/>
                    <a:pt x="2" y="111"/>
                    <a:pt x="0" y="113"/>
                  </a:cubicBezTo>
                  <a:cubicBezTo>
                    <a:pt x="0" y="134"/>
                    <a:pt x="105" y="151"/>
                    <a:pt x="235" y="151"/>
                  </a:cubicBezTo>
                  <a:cubicBezTo>
                    <a:pt x="364" y="151"/>
                    <a:pt x="470" y="134"/>
                    <a:pt x="470" y="113"/>
                  </a:cubicBezTo>
                  <a:cubicBezTo>
                    <a:pt x="468" y="111"/>
                    <a:pt x="427" y="52"/>
                    <a:pt x="408" y="25"/>
                  </a:cubicBezTo>
                  <a:cubicBezTo>
                    <a:pt x="408" y="25"/>
                    <a:pt x="408" y="25"/>
                    <a:pt x="408" y="25"/>
                  </a:cubicBezTo>
                  <a:close/>
                  <a:moveTo>
                    <a:pt x="235" y="57"/>
                  </a:moveTo>
                  <a:cubicBezTo>
                    <a:pt x="148" y="57"/>
                    <a:pt x="78" y="45"/>
                    <a:pt x="78" y="32"/>
                  </a:cubicBezTo>
                  <a:cubicBezTo>
                    <a:pt x="78" y="18"/>
                    <a:pt x="148" y="7"/>
                    <a:pt x="235" y="7"/>
                  </a:cubicBezTo>
                  <a:cubicBezTo>
                    <a:pt x="321" y="7"/>
                    <a:pt x="391" y="18"/>
                    <a:pt x="391" y="32"/>
                  </a:cubicBezTo>
                  <a:cubicBezTo>
                    <a:pt x="391" y="45"/>
                    <a:pt x="321" y="57"/>
                    <a:pt x="235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FD8E8DEF-EFFC-23F3-C78F-EEFC30780D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731" y="1375860"/>
              <a:ext cx="164150" cy="114575"/>
            </a:xfrm>
            <a:custGeom>
              <a:avLst/>
              <a:gdLst/>
              <a:ahLst/>
              <a:cxnLst>
                <a:cxn ang="0">
                  <a:pos x="106" y="47"/>
                </a:cxn>
                <a:cxn ang="0">
                  <a:pos x="43" y="9"/>
                </a:cxn>
                <a:cxn ang="0">
                  <a:pos x="0" y="14"/>
                </a:cxn>
                <a:cxn ang="0">
                  <a:pos x="121" y="88"/>
                </a:cxn>
                <a:cxn ang="0">
                  <a:pos x="106" y="47"/>
                </a:cxn>
              </a:cxnLst>
              <a:rect l="0" t="0" r="r" b="b"/>
              <a:pathLst>
                <a:path w="126" h="88">
                  <a:moveTo>
                    <a:pt x="106" y="47"/>
                  </a:moveTo>
                  <a:cubicBezTo>
                    <a:pt x="43" y="9"/>
                    <a:pt x="43" y="9"/>
                    <a:pt x="43" y="9"/>
                  </a:cubicBezTo>
                  <a:cubicBezTo>
                    <a:pt x="29" y="0"/>
                    <a:pt x="11" y="2"/>
                    <a:pt x="0" y="14"/>
                  </a:cubicBezTo>
                  <a:cubicBezTo>
                    <a:pt x="121" y="88"/>
                    <a:pt x="121" y="88"/>
                    <a:pt x="121" y="88"/>
                  </a:cubicBezTo>
                  <a:cubicBezTo>
                    <a:pt x="126" y="72"/>
                    <a:pt x="120" y="55"/>
                    <a:pt x="106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B17E7D9E-0775-51B7-F24C-7C68ACE56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8022" y="1613822"/>
              <a:ext cx="248429" cy="182328"/>
            </a:xfrm>
            <a:custGeom>
              <a:avLst/>
              <a:gdLst/>
              <a:ahLst/>
              <a:cxnLst>
                <a:cxn ang="0">
                  <a:pos x="32" y="72"/>
                </a:cxn>
                <a:cxn ang="0">
                  <a:pos x="119" y="125"/>
                </a:cxn>
                <a:cxn ang="0">
                  <a:pos x="191" y="108"/>
                </a:cxn>
                <a:cxn ang="0">
                  <a:pos x="191" y="107"/>
                </a:cxn>
                <a:cxn ang="0">
                  <a:pos x="93" y="69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32" y="72"/>
                </a:cxn>
              </a:cxnLst>
              <a:rect l="0" t="0" r="r" b="b"/>
              <a:pathLst>
                <a:path w="191" h="140">
                  <a:moveTo>
                    <a:pt x="32" y="72"/>
                  </a:moveTo>
                  <a:cubicBezTo>
                    <a:pt x="119" y="125"/>
                    <a:pt x="119" y="125"/>
                    <a:pt x="119" y="125"/>
                  </a:cubicBezTo>
                  <a:cubicBezTo>
                    <a:pt x="144" y="140"/>
                    <a:pt x="176" y="132"/>
                    <a:pt x="191" y="108"/>
                  </a:cubicBezTo>
                  <a:cubicBezTo>
                    <a:pt x="191" y="107"/>
                    <a:pt x="191" y="107"/>
                    <a:pt x="191" y="107"/>
                  </a:cubicBezTo>
                  <a:cubicBezTo>
                    <a:pt x="161" y="102"/>
                    <a:pt x="127" y="90"/>
                    <a:pt x="93" y="69"/>
                  </a:cubicBezTo>
                  <a:cubicBezTo>
                    <a:pt x="60" y="49"/>
                    <a:pt x="33" y="24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25"/>
                    <a:pt x="8" y="57"/>
                    <a:pt x="32" y="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2B569DB9-85FB-5434-7D55-C05A5B6D2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2725" y="1412215"/>
              <a:ext cx="316182" cy="316182"/>
            </a:xfrm>
            <a:custGeom>
              <a:avLst/>
              <a:gdLst/>
              <a:ahLst/>
              <a:cxnLst>
                <a:cxn ang="0">
                  <a:pos x="78" y="206"/>
                </a:cxn>
                <a:cxn ang="0">
                  <a:pos x="176" y="243"/>
                </a:cxn>
                <a:cxn ang="0">
                  <a:pos x="228" y="158"/>
                </a:cxn>
                <a:cxn ang="0">
                  <a:pos x="210" y="87"/>
                </a:cxn>
                <a:cxn ang="0">
                  <a:pos x="198" y="79"/>
                </a:cxn>
                <a:cxn ang="0">
                  <a:pos x="241" y="74"/>
                </a:cxn>
                <a:cxn ang="0">
                  <a:pos x="120" y="0"/>
                </a:cxn>
                <a:cxn ang="0">
                  <a:pos x="136" y="41"/>
                </a:cxn>
                <a:cxn ang="0">
                  <a:pos x="123" y="33"/>
                </a:cxn>
                <a:cxn ang="0">
                  <a:pos x="52" y="51"/>
                </a:cxn>
                <a:cxn ang="0">
                  <a:pos x="0" y="136"/>
                </a:cxn>
                <a:cxn ang="0">
                  <a:pos x="78" y="206"/>
                </a:cxn>
              </a:cxnLst>
              <a:rect l="0" t="0" r="r" b="b"/>
              <a:pathLst>
                <a:path w="243" h="243">
                  <a:moveTo>
                    <a:pt x="78" y="206"/>
                  </a:moveTo>
                  <a:cubicBezTo>
                    <a:pt x="111" y="226"/>
                    <a:pt x="146" y="239"/>
                    <a:pt x="176" y="243"/>
                  </a:cubicBezTo>
                  <a:cubicBezTo>
                    <a:pt x="228" y="158"/>
                    <a:pt x="228" y="158"/>
                    <a:pt x="228" y="158"/>
                  </a:cubicBezTo>
                  <a:cubicBezTo>
                    <a:pt x="243" y="133"/>
                    <a:pt x="235" y="101"/>
                    <a:pt x="210" y="87"/>
                  </a:cubicBezTo>
                  <a:cubicBezTo>
                    <a:pt x="198" y="79"/>
                    <a:pt x="198" y="79"/>
                    <a:pt x="198" y="79"/>
                  </a:cubicBezTo>
                  <a:cubicBezTo>
                    <a:pt x="212" y="88"/>
                    <a:pt x="230" y="85"/>
                    <a:pt x="241" y="74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15" y="15"/>
                    <a:pt x="121" y="32"/>
                    <a:pt x="136" y="41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99" y="18"/>
                    <a:pt x="67" y="26"/>
                    <a:pt x="52" y="51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17" y="161"/>
                    <a:pt x="44" y="185"/>
                    <a:pt x="78" y="20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2495BADC-8159-0F7F-2707-415844FAE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0093" y="1474460"/>
              <a:ext cx="495756" cy="343724"/>
            </a:xfrm>
            <a:custGeom>
              <a:avLst/>
              <a:gdLst/>
              <a:ahLst/>
              <a:cxnLst>
                <a:cxn ang="0">
                  <a:pos x="369" y="238"/>
                </a:cxn>
                <a:cxn ang="0">
                  <a:pos x="371" y="191"/>
                </a:cxn>
                <a:cxn ang="0">
                  <a:pos x="81" y="29"/>
                </a:cxn>
                <a:cxn ang="0">
                  <a:pos x="38" y="5"/>
                </a:cxn>
                <a:cxn ang="0">
                  <a:pos x="25" y="0"/>
                </a:cxn>
                <a:cxn ang="0">
                  <a:pos x="21" y="25"/>
                </a:cxn>
                <a:cxn ang="0">
                  <a:pos x="0" y="41"/>
                </a:cxn>
                <a:cxn ang="0">
                  <a:pos x="10" y="50"/>
                </a:cxn>
                <a:cxn ang="0">
                  <a:pos x="51" y="77"/>
                </a:cxn>
                <a:cxn ang="0">
                  <a:pos x="328" y="261"/>
                </a:cxn>
                <a:cxn ang="0">
                  <a:pos x="369" y="238"/>
                </a:cxn>
              </a:cxnLst>
              <a:rect l="0" t="0" r="r" b="b"/>
              <a:pathLst>
                <a:path w="381" h="264">
                  <a:moveTo>
                    <a:pt x="369" y="238"/>
                  </a:moveTo>
                  <a:cubicBezTo>
                    <a:pt x="378" y="224"/>
                    <a:pt x="381" y="204"/>
                    <a:pt x="371" y="191"/>
                  </a:cubicBezTo>
                  <a:cubicBezTo>
                    <a:pt x="275" y="137"/>
                    <a:pt x="178" y="83"/>
                    <a:pt x="81" y="29"/>
                  </a:cubicBezTo>
                  <a:cubicBezTo>
                    <a:pt x="67" y="21"/>
                    <a:pt x="52" y="13"/>
                    <a:pt x="38" y="5"/>
                  </a:cubicBezTo>
                  <a:cubicBezTo>
                    <a:pt x="34" y="3"/>
                    <a:pt x="30" y="1"/>
                    <a:pt x="25" y="0"/>
                  </a:cubicBezTo>
                  <a:cubicBezTo>
                    <a:pt x="27" y="8"/>
                    <a:pt x="25" y="17"/>
                    <a:pt x="21" y="25"/>
                  </a:cubicBezTo>
                  <a:cubicBezTo>
                    <a:pt x="16" y="33"/>
                    <a:pt x="8" y="39"/>
                    <a:pt x="0" y="41"/>
                  </a:cubicBezTo>
                  <a:cubicBezTo>
                    <a:pt x="3" y="45"/>
                    <a:pt x="7" y="48"/>
                    <a:pt x="10" y="50"/>
                  </a:cubicBezTo>
                  <a:cubicBezTo>
                    <a:pt x="24" y="59"/>
                    <a:pt x="38" y="68"/>
                    <a:pt x="51" y="77"/>
                  </a:cubicBezTo>
                  <a:cubicBezTo>
                    <a:pt x="144" y="139"/>
                    <a:pt x="236" y="200"/>
                    <a:pt x="328" y="261"/>
                  </a:cubicBezTo>
                  <a:cubicBezTo>
                    <a:pt x="344" y="264"/>
                    <a:pt x="361" y="252"/>
                    <a:pt x="369" y="23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B6F1AF60-2EF9-EDFC-D4D7-7F749478F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231" y="1737210"/>
              <a:ext cx="118431" cy="132752"/>
            </a:xfrm>
            <a:custGeom>
              <a:avLst/>
              <a:gdLst/>
              <a:ahLst/>
              <a:cxnLst>
                <a:cxn ang="0">
                  <a:pos x="71" y="15"/>
                </a:cxn>
                <a:cxn ang="0">
                  <a:pos x="44" y="0"/>
                </a:cxn>
                <a:cxn ang="0">
                  <a:pos x="44" y="49"/>
                </a:cxn>
                <a:cxn ang="0">
                  <a:pos x="0" y="72"/>
                </a:cxn>
                <a:cxn ang="0">
                  <a:pos x="26" y="89"/>
                </a:cxn>
                <a:cxn ang="0">
                  <a:pos x="79" y="70"/>
                </a:cxn>
                <a:cxn ang="0">
                  <a:pos x="71" y="15"/>
                </a:cxn>
              </a:cxnLst>
              <a:rect l="0" t="0" r="r" b="b"/>
              <a:pathLst>
                <a:path w="91" h="102">
                  <a:moveTo>
                    <a:pt x="71" y="15"/>
                  </a:moveTo>
                  <a:cubicBezTo>
                    <a:pt x="62" y="10"/>
                    <a:pt x="53" y="5"/>
                    <a:pt x="44" y="0"/>
                  </a:cubicBezTo>
                  <a:cubicBezTo>
                    <a:pt x="56" y="13"/>
                    <a:pt x="53" y="35"/>
                    <a:pt x="44" y="49"/>
                  </a:cubicBezTo>
                  <a:cubicBezTo>
                    <a:pt x="35" y="64"/>
                    <a:pt x="17" y="76"/>
                    <a:pt x="0" y="72"/>
                  </a:cubicBezTo>
                  <a:cubicBezTo>
                    <a:pt x="9" y="78"/>
                    <a:pt x="18" y="83"/>
                    <a:pt x="26" y="89"/>
                  </a:cubicBezTo>
                  <a:cubicBezTo>
                    <a:pt x="45" y="102"/>
                    <a:pt x="68" y="87"/>
                    <a:pt x="79" y="70"/>
                  </a:cubicBezTo>
                  <a:cubicBezTo>
                    <a:pt x="89" y="53"/>
                    <a:pt x="91" y="26"/>
                    <a:pt x="71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8" name="Freeform 7">
            <a:extLst>
              <a:ext uri="{FF2B5EF4-FFF2-40B4-BE49-F238E27FC236}">
                <a16:creationId xmlns:a16="http://schemas.microsoft.com/office/drawing/2014/main" id="{2D06DB7B-8F80-3C04-3595-3063527118D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6113" y="2023171"/>
            <a:ext cx="480155" cy="631578"/>
          </a:xfrm>
          <a:custGeom>
            <a:avLst/>
            <a:gdLst/>
            <a:ahLst/>
            <a:cxnLst>
              <a:cxn ang="0">
                <a:pos x="236" y="34"/>
              </a:cxn>
              <a:cxn ang="0">
                <a:pos x="119" y="0"/>
              </a:cxn>
              <a:cxn ang="0">
                <a:pos x="3" y="34"/>
              </a:cxn>
              <a:cxn ang="0">
                <a:pos x="0" y="39"/>
              </a:cxn>
              <a:cxn ang="0">
                <a:pos x="13" y="216"/>
              </a:cxn>
              <a:cxn ang="0">
                <a:pos x="119" y="314"/>
              </a:cxn>
              <a:cxn ang="0">
                <a:pos x="226" y="216"/>
              </a:cxn>
              <a:cxn ang="0">
                <a:pos x="239" y="39"/>
              </a:cxn>
              <a:cxn ang="0">
                <a:pos x="236" y="34"/>
              </a:cxn>
              <a:cxn ang="0">
                <a:pos x="130" y="179"/>
              </a:cxn>
              <a:cxn ang="0">
                <a:pos x="119" y="187"/>
              </a:cxn>
              <a:cxn ang="0">
                <a:pos x="108" y="179"/>
              </a:cxn>
              <a:cxn ang="0">
                <a:pos x="119" y="183"/>
              </a:cxn>
              <a:cxn ang="0">
                <a:pos x="130" y="179"/>
              </a:cxn>
              <a:cxn ang="0">
                <a:pos x="74" y="67"/>
              </a:cxn>
              <a:cxn ang="0">
                <a:pos x="109" y="93"/>
              </a:cxn>
              <a:cxn ang="0">
                <a:pos x="73" y="77"/>
              </a:cxn>
              <a:cxn ang="0">
                <a:pos x="23" y="96"/>
              </a:cxn>
              <a:cxn ang="0">
                <a:pos x="74" y="67"/>
              </a:cxn>
              <a:cxn ang="0">
                <a:pos x="42" y="133"/>
              </a:cxn>
              <a:cxn ang="0">
                <a:pos x="71" y="115"/>
              </a:cxn>
              <a:cxn ang="0">
                <a:pos x="95" y="129"/>
              </a:cxn>
              <a:cxn ang="0">
                <a:pos x="42" y="133"/>
              </a:cxn>
              <a:cxn ang="0">
                <a:pos x="119" y="252"/>
              </a:cxn>
              <a:cxn ang="0">
                <a:pos x="53" y="189"/>
              </a:cxn>
              <a:cxn ang="0">
                <a:pos x="170" y="210"/>
              </a:cxn>
              <a:cxn ang="0">
                <a:pos x="119" y="252"/>
              </a:cxn>
              <a:cxn ang="0">
                <a:pos x="143" y="129"/>
              </a:cxn>
              <a:cxn ang="0">
                <a:pos x="168" y="115"/>
              </a:cxn>
              <a:cxn ang="0">
                <a:pos x="197" y="133"/>
              </a:cxn>
              <a:cxn ang="0">
                <a:pos x="143" y="129"/>
              </a:cxn>
              <a:cxn ang="0">
                <a:pos x="166" y="77"/>
              </a:cxn>
              <a:cxn ang="0">
                <a:pos x="130" y="93"/>
              </a:cxn>
              <a:cxn ang="0">
                <a:pos x="165" y="67"/>
              </a:cxn>
              <a:cxn ang="0">
                <a:pos x="216" y="96"/>
              </a:cxn>
              <a:cxn ang="0">
                <a:pos x="166" y="77"/>
              </a:cxn>
            </a:cxnLst>
            <a:rect l="0" t="0" r="r" b="b"/>
            <a:pathLst>
              <a:path w="239" h="314">
                <a:moveTo>
                  <a:pt x="236" y="34"/>
                </a:moveTo>
                <a:cubicBezTo>
                  <a:pt x="226" y="26"/>
                  <a:pt x="188" y="0"/>
                  <a:pt x="119" y="0"/>
                </a:cubicBezTo>
                <a:cubicBezTo>
                  <a:pt x="51" y="0"/>
                  <a:pt x="13" y="26"/>
                  <a:pt x="3" y="34"/>
                </a:cubicBezTo>
                <a:cubicBezTo>
                  <a:pt x="1" y="35"/>
                  <a:pt x="0" y="37"/>
                  <a:pt x="0" y="39"/>
                </a:cubicBezTo>
                <a:cubicBezTo>
                  <a:pt x="1" y="61"/>
                  <a:pt x="3" y="176"/>
                  <a:pt x="13" y="216"/>
                </a:cubicBezTo>
                <a:cubicBezTo>
                  <a:pt x="24" y="260"/>
                  <a:pt x="80" y="314"/>
                  <a:pt x="119" y="314"/>
                </a:cubicBezTo>
                <a:cubicBezTo>
                  <a:pt x="159" y="314"/>
                  <a:pt x="215" y="260"/>
                  <a:pt x="226" y="216"/>
                </a:cubicBezTo>
                <a:cubicBezTo>
                  <a:pt x="236" y="176"/>
                  <a:pt x="238" y="61"/>
                  <a:pt x="239" y="39"/>
                </a:cubicBezTo>
                <a:cubicBezTo>
                  <a:pt x="239" y="37"/>
                  <a:pt x="238" y="35"/>
                  <a:pt x="236" y="34"/>
                </a:cubicBezTo>
                <a:close/>
                <a:moveTo>
                  <a:pt x="130" y="179"/>
                </a:moveTo>
                <a:cubicBezTo>
                  <a:pt x="130" y="181"/>
                  <a:pt x="127" y="187"/>
                  <a:pt x="119" y="187"/>
                </a:cubicBezTo>
                <a:cubicBezTo>
                  <a:pt x="112" y="187"/>
                  <a:pt x="108" y="181"/>
                  <a:pt x="108" y="179"/>
                </a:cubicBezTo>
                <a:cubicBezTo>
                  <a:pt x="108" y="178"/>
                  <a:pt x="112" y="183"/>
                  <a:pt x="119" y="183"/>
                </a:cubicBezTo>
                <a:cubicBezTo>
                  <a:pt x="127" y="183"/>
                  <a:pt x="130" y="178"/>
                  <a:pt x="130" y="179"/>
                </a:cubicBezTo>
                <a:close/>
                <a:moveTo>
                  <a:pt x="74" y="67"/>
                </a:moveTo>
                <a:cubicBezTo>
                  <a:pt x="87" y="67"/>
                  <a:pt x="109" y="93"/>
                  <a:pt x="109" y="93"/>
                </a:cubicBezTo>
                <a:cubicBezTo>
                  <a:pt x="109" y="93"/>
                  <a:pt x="87" y="77"/>
                  <a:pt x="73" y="77"/>
                </a:cubicBezTo>
                <a:cubicBezTo>
                  <a:pt x="59" y="77"/>
                  <a:pt x="23" y="96"/>
                  <a:pt x="23" y="96"/>
                </a:cubicBezTo>
                <a:cubicBezTo>
                  <a:pt x="23" y="96"/>
                  <a:pt x="61" y="67"/>
                  <a:pt x="74" y="67"/>
                </a:cubicBezTo>
                <a:close/>
                <a:moveTo>
                  <a:pt x="42" y="133"/>
                </a:moveTo>
                <a:cubicBezTo>
                  <a:pt x="42" y="126"/>
                  <a:pt x="57" y="115"/>
                  <a:pt x="71" y="115"/>
                </a:cubicBezTo>
                <a:cubicBezTo>
                  <a:pt x="85" y="115"/>
                  <a:pt x="95" y="123"/>
                  <a:pt x="95" y="129"/>
                </a:cubicBezTo>
                <a:cubicBezTo>
                  <a:pt x="87" y="138"/>
                  <a:pt x="61" y="134"/>
                  <a:pt x="42" y="133"/>
                </a:cubicBezTo>
                <a:close/>
                <a:moveTo>
                  <a:pt x="119" y="252"/>
                </a:moveTo>
                <a:cubicBezTo>
                  <a:pt x="75" y="250"/>
                  <a:pt x="57" y="199"/>
                  <a:pt x="53" y="189"/>
                </a:cubicBezTo>
                <a:cubicBezTo>
                  <a:pt x="97" y="237"/>
                  <a:pt x="148" y="215"/>
                  <a:pt x="170" y="210"/>
                </a:cubicBezTo>
                <a:cubicBezTo>
                  <a:pt x="164" y="236"/>
                  <a:pt x="137" y="253"/>
                  <a:pt x="119" y="252"/>
                </a:cubicBezTo>
                <a:close/>
                <a:moveTo>
                  <a:pt x="143" y="129"/>
                </a:moveTo>
                <a:cubicBezTo>
                  <a:pt x="143" y="123"/>
                  <a:pt x="154" y="115"/>
                  <a:pt x="168" y="115"/>
                </a:cubicBezTo>
                <a:cubicBezTo>
                  <a:pt x="182" y="115"/>
                  <a:pt x="197" y="126"/>
                  <a:pt x="197" y="133"/>
                </a:cubicBezTo>
                <a:cubicBezTo>
                  <a:pt x="178" y="134"/>
                  <a:pt x="152" y="138"/>
                  <a:pt x="143" y="129"/>
                </a:cubicBezTo>
                <a:close/>
                <a:moveTo>
                  <a:pt x="166" y="77"/>
                </a:moveTo>
                <a:cubicBezTo>
                  <a:pt x="152" y="77"/>
                  <a:pt x="130" y="93"/>
                  <a:pt x="130" y="93"/>
                </a:cubicBezTo>
                <a:cubicBezTo>
                  <a:pt x="130" y="93"/>
                  <a:pt x="152" y="67"/>
                  <a:pt x="165" y="67"/>
                </a:cubicBezTo>
                <a:cubicBezTo>
                  <a:pt x="178" y="67"/>
                  <a:pt x="216" y="96"/>
                  <a:pt x="216" y="96"/>
                </a:cubicBezTo>
                <a:cubicBezTo>
                  <a:pt x="216" y="96"/>
                  <a:pt x="180" y="77"/>
                  <a:pt x="166" y="77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Freeform 7">
            <a:extLst>
              <a:ext uri="{FF2B5EF4-FFF2-40B4-BE49-F238E27FC236}">
                <a16:creationId xmlns:a16="http://schemas.microsoft.com/office/drawing/2014/main" id="{C7D39AE7-C99A-4026-208E-962D680F3C60}"/>
              </a:ext>
            </a:extLst>
          </p:cNvPr>
          <p:cNvSpPr>
            <a:spLocks noChangeAspect="1"/>
          </p:cNvSpPr>
          <p:nvPr/>
        </p:nvSpPr>
        <p:spPr bwMode="auto">
          <a:xfrm>
            <a:off x="543662" y="3103892"/>
            <a:ext cx="685057" cy="652347"/>
          </a:xfrm>
          <a:custGeom>
            <a:avLst/>
            <a:gdLst>
              <a:gd name="T0" fmla="*/ 327 w 502"/>
              <a:gd name="T1" fmla="*/ 187 h 479"/>
              <a:gd name="T2" fmla="*/ 480 w 502"/>
              <a:gd name="T3" fmla="*/ 38 h 479"/>
              <a:gd name="T4" fmla="*/ 464 w 502"/>
              <a:gd name="T5" fmla="*/ 0 h 479"/>
              <a:gd name="T6" fmla="*/ 369 w 502"/>
              <a:gd name="T7" fmla="*/ 39 h 479"/>
              <a:gd name="T8" fmla="*/ 273 w 502"/>
              <a:gd name="T9" fmla="*/ 127 h 479"/>
              <a:gd name="T10" fmla="*/ 215 w 502"/>
              <a:gd name="T11" fmla="*/ 69 h 479"/>
              <a:gd name="T12" fmla="*/ 91 w 502"/>
              <a:gd name="T13" fmla="*/ 137 h 479"/>
              <a:gd name="T14" fmla="*/ 179 w 502"/>
              <a:gd name="T15" fmla="*/ 229 h 479"/>
              <a:gd name="T16" fmla="*/ 18 w 502"/>
              <a:gd name="T17" fmla="*/ 449 h 479"/>
              <a:gd name="T18" fmla="*/ 57 w 502"/>
              <a:gd name="T19" fmla="*/ 476 h 479"/>
              <a:gd name="T20" fmla="*/ 146 w 502"/>
              <a:gd name="T21" fmla="*/ 428 h 479"/>
              <a:gd name="T22" fmla="*/ 237 w 502"/>
              <a:gd name="T23" fmla="*/ 297 h 479"/>
              <a:gd name="T24" fmla="*/ 300 w 502"/>
              <a:gd name="T25" fmla="*/ 381 h 479"/>
              <a:gd name="T26" fmla="*/ 435 w 502"/>
              <a:gd name="T27" fmla="*/ 325 h 479"/>
              <a:gd name="T28" fmla="*/ 327 w 502"/>
              <a:gd name="T29" fmla="*/ 187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02" h="479">
                <a:moveTo>
                  <a:pt x="327" y="187"/>
                </a:moveTo>
                <a:cubicBezTo>
                  <a:pt x="375" y="134"/>
                  <a:pt x="426" y="84"/>
                  <a:pt x="480" y="38"/>
                </a:cubicBezTo>
                <a:cubicBezTo>
                  <a:pt x="502" y="19"/>
                  <a:pt x="491" y="0"/>
                  <a:pt x="464" y="0"/>
                </a:cubicBezTo>
                <a:cubicBezTo>
                  <a:pt x="429" y="0"/>
                  <a:pt x="395" y="17"/>
                  <a:pt x="369" y="39"/>
                </a:cubicBezTo>
                <a:cubicBezTo>
                  <a:pt x="336" y="67"/>
                  <a:pt x="304" y="97"/>
                  <a:pt x="273" y="127"/>
                </a:cubicBezTo>
                <a:cubicBezTo>
                  <a:pt x="255" y="107"/>
                  <a:pt x="235" y="88"/>
                  <a:pt x="215" y="69"/>
                </a:cubicBezTo>
                <a:cubicBezTo>
                  <a:pt x="186" y="41"/>
                  <a:pt x="58" y="106"/>
                  <a:pt x="91" y="137"/>
                </a:cubicBezTo>
                <a:cubicBezTo>
                  <a:pt x="122" y="167"/>
                  <a:pt x="151" y="197"/>
                  <a:pt x="179" y="229"/>
                </a:cubicBezTo>
                <a:cubicBezTo>
                  <a:pt x="120" y="298"/>
                  <a:pt x="66" y="372"/>
                  <a:pt x="18" y="449"/>
                </a:cubicBezTo>
                <a:cubicBezTo>
                  <a:pt x="0" y="477"/>
                  <a:pt x="40" y="479"/>
                  <a:pt x="57" y="476"/>
                </a:cubicBezTo>
                <a:cubicBezTo>
                  <a:pt x="88" y="471"/>
                  <a:pt x="128" y="455"/>
                  <a:pt x="146" y="428"/>
                </a:cubicBezTo>
                <a:cubicBezTo>
                  <a:pt x="174" y="383"/>
                  <a:pt x="204" y="339"/>
                  <a:pt x="237" y="297"/>
                </a:cubicBezTo>
                <a:cubicBezTo>
                  <a:pt x="258" y="324"/>
                  <a:pt x="280" y="352"/>
                  <a:pt x="300" y="381"/>
                </a:cubicBezTo>
                <a:cubicBezTo>
                  <a:pt x="327" y="419"/>
                  <a:pt x="455" y="353"/>
                  <a:pt x="435" y="325"/>
                </a:cubicBezTo>
                <a:cubicBezTo>
                  <a:pt x="401" y="277"/>
                  <a:pt x="365" y="231"/>
                  <a:pt x="327" y="1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63F8E09E-7632-4DA1-D549-F788B06F220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03826" y="4404226"/>
            <a:ext cx="689370" cy="468693"/>
          </a:xfrm>
          <a:custGeom>
            <a:avLst/>
            <a:gdLst/>
            <a:ahLst/>
            <a:cxnLst>
              <a:cxn ang="0">
                <a:pos x="134" y="0"/>
              </a:cxn>
              <a:cxn ang="0">
                <a:pos x="265" y="40"/>
              </a:cxn>
              <a:cxn ang="0">
                <a:pos x="267" y="42"/>
              </a:cxn>
              <a:cxn ang="0">
                <a:pos x="265" y="45"/>
              </a:cxn>
              <a:cxn ang="0">
                <a:pos x="213" y="68"/>
              </a:cxn>
              <a:cxn ang="0">
                <a:pos x="227" y="79"/>
              </a:cxn>
              <a:cxn ang="0">
                <a:pos x="236" y="118"/>
              </a:cxn>
              <a:cxn ang="0">
                <a:pos x="243" y="127"/>
              </a:cxn>
              <a:cxn ang="0">
                <a:pos x="242" y="131"/>
              </a:cxn>
              <a:cxn ang="0">
                <a:pos x="260" y="176"/>
              </a:cxn>
              <a:cxn ang="0">
                <a:pos x="236" y="181"/>
              </a:cxn>
              <a:cxn ang="0">
                <a:pos x="232" y="135"/>
              </a:cxn>
              <a:cxn ang="0">
                <a:pos x="226" y="126"/>
              </a:cxn>
              <a:cxn ang="0">
                <a:pos x="229" y="120"/>
              </a:cxn>
              <a:cxn ang="0">
                <a:pos x="220" y="82"/>
              </a:cxn>
              <a:cxn ang="0">
                <a:pos x="202" y="71"/>
              </a:cxn>
              <a:cxn ang="0">
                <a:pos x="131" y="45"/>
              </a:cxn>
              <a:cxn ang="0">
                <a:pos x="130" y="44"/>
              </a:cxn>
              <a:cxn ang="0">
                <a:pos x="132" y="49"/>
              </a:cxn>
              <a:cxn ang="0">
                <a:pos x="195" y="76"/>
              </a:cxn>
              <a:cxn ang="0">
                <a:pos x="135" y="103"/>
              </a:cxn>
              <a:cxn ang="0">
                <a:pos x="132" y="103"/>
              </a:cxn>
              <a:cxn ang="0">
                <a:pos x="2" y="45"/>
              </a:cxn>
              <a:cxn ang="0">
                <a:pos x="0" y="42"/>
              </a:cxn>
              <a:cxn ang="0">
                <a:pos x="2" y="40"/>
              </a:cxn>
              <a:cxn ang="0">
                <a:pos x="133" y="0"/>
              </a:cxn>
              <a:cxn ang="0">
                <a:pos x="134" y="0"/>
              </a:cxn>
              <a:cxn ang="0">
                <a:pos x="57" y="79"/>
              </a:cxn>
              <a:cxn ang="0">
                <a:pos x="54" y="136"/>
              </a:cxn>
              <a:cxn ang="0">
                <a:pos x="54" y="137"/>
              </a:cxn>
              <a:cxn ang="0">
                <a:pos x="56" y="137"/>
              </a:cxn>
              <a:cxn ang="0">
                <a:pos x="132" y="173"/>
              </a:cxn>
              <a:cxn ang="0">
                <a:pos x="134" y="173"/>
              </a:cxn>
              <a:cxn ang="0">
                <a:pos x="211" y="137"/>
              </a:cxn>
              <a:cxn ang="0">
                <a:pos x="213" y="137"/>
              </a:cxn>
              <a:cxn ang="0">
                <a:pos x="213" y="136"/>
              </a:cxn>
              <a:cxn ang="0">
                <a:pos x="209" y="80"/>
              </a:cxn>
              <a:cxn ang="0">
                <a:pos x="139" y="111"/>
              </a:cxn>
              <a:cxn ang="0">
                <a:pos x="128" y="111"/>
              </a:cxn>
              <a:cxn ang="0">
                <a:pos x="57" y="79"/>
              </a:cxn>
            </a:cxnLst>
            <a:rect l="0" t="0" r="r" b="b"/>
            <a:pathLst>
              <a:path w="267" h="181">
                <a:moveTo>
                  <a:pt x="134" y="0"/>
                </a:moveTo>
                <a:cubicBezTo>
                  <a:pt x="265" y="40"/>
                  <a:pt x="265" y="40"/>
                  <a:pt x="265" y="40"/>
                </a:cubicBezTo>
                <a:cubicBezTo>
                  <a:pt x="266" y="40"/>
                  <a:pt x="267" y="41"/>
                  <a:pt x="267" y="42"/>
                </a:cubicBezTo>
                <a:cubicBezTo>
                  <a:pt x="267" y="44"/>
                  <a:pt x="267" y="45"/>
                  <a:pt x="265" y="45"/>
                </a:cubicBezTo>
                <a:cubicBezTo>
                  <a:pt x="213" y="68"/>
                  <a:pt x="213" y="68"/>
                  <a:pt x="213" y="68"/>
                </a:cubicBezTo>
                <a:cubicBezTo>
                  <a:pt x="220" y="72"/>
                  <a:pt x="223" y="71"/>
                  <a:pt x="227" y="79"/>
                </a:cubicBezTo>
                <a:cubicBezTo>
                  <a:pt x="230" y="86"/>
                  <a:pt x="233" y="101"/>
                  <a:pt x="236" y="118"/>
                </a:cubicBezTo>
                <a:cubicBezTo>
                  <a:pt x="241" y="119"/>
                  <a:pt x="243" y="125"/>
                  <a:pt x="243" y="127"/>
                </a:cubicBezTo>
                <a:cubicBezTo>
                  <a:pt x="243" y="130"/>
                  <a:pt x="243" y="130"/>
                  <a:pt x="242" y="131"/>
                </a:cubicBezTo>
                <a:cubicBezTo>
                  <a:pt x="260" y="176"/>
                  <a:pt x="260" y="176"/>
                  <a:pt x="260" y="176"/>
                </a:cubicBezTo>
                <a:cubicBezTo>
                  <a:pt x="236" y="181"/>
                  <a:pt x="236" y="181"/>
                  <a:pt x="236" y="181"/>
                </a:cubicBezTo>
                <a:cubicBezTo>
                  <a:pt x="232" y="135"/>
                  <a:pt x="232" y="135"/>
                  <a:pt x="232" y="135"/>
                </a:cubicBezTo>
                <a:cubicBezTo>
                  <a:pt x="228" y="134"/>
                  <a:pt x="225" y="129"/>
                  <a:pt x="226" y="126"/>
                </a:cubicBezTo>
                <a:cubicBezTo>
                  <a:pt x="226" y="123"/>
                  <a:pt x="227" y="121"/>
                  <a:pt x="229" y="120"/>
                </a:cubicBezTo>
                <a:cubicBezTo>
                  <a:pt x="226" y="103"/>
                  <a:pt x="223" y="88"/>
                  <a:pt x="220" y="82"/>
                </a:cubicBezTo>
                <a:cubicBezTo>
                  <a:pt x="218" y="76"/>
                  <a:pt x="209" y="73"/>
                  <a:pt x="202" y="71"/>
                </a:cubicBezTo>
                <a:cubicBezTo>
                  <a:pt x="178" y="61"/>
                  <a:pt x="155" y="53"/>
                  <a:pt x="131" y="45"/>
                </a:cubicBezTo>
                <a:cubicBezTo>
                  <a:pt x="130" y="45"/>
                  <a:pt x="130" y="45"/>
                  <a:pt x="130" y="44"/>
                </a:cubicBezTo>
                <a:cubicBezTo>
                  <a:pt x="129" y="46"/>
                  <a:pt x="130" y="48"/>
                  <a:pt x="132" y="49"/>
                </a:cubicBezTo>
                <a:cubicBezTo>
                  <a:pt x="150" y="56"/>
                  <a:pt x="170" y="64"/>
                  <a:pt x="195" y="76"/>
                </a:cubicBezTo>
                <a:cubicBezTo>
                  <a:pt x="135" y="103"/>
                  <a:pt x="135" y="103"/>
                  <a:pt x="135" y="103"/>
                </a:cubicBezTo>
                <a:cubicBezTo>
                  <a:pt x="134" y="103"/>
                  <a:pt x="133" y="103"/>
                  <a:pt x="132" y="103"/>
                </a:cubicBezTo>
                <a:cubicBezTo>
                  <a:pt x="2" y="45"/>
                  <a:pt x="2" y="45"/>
                  <a:pt x="2" y="45"/>
                </a:cubicBezTo>
                <a:cubicBezTo>
                  <a:pt x="1" y="45"/>
                  <a:pt x="0" y="44"/>
                  <a:pt x="0" y="42"/>
                </a:cubicBezTo>
                <a:cubicBezTo>
                  <a:pt x="0" y="41"/>
                  <a:pt x="1" y="40"/>
                  <a:pt x="2" y="40"/>
                </a:cubicBezTo>
                <a:cubicBezTo>
                  <a:pt x="133" y="0"/>
                  <a:pt x="133" y="0"/>
                  <a:pt x="133" y="0"/>
                </a:cubicBezTo>
                <a:cubicBezTo>
                  <a:pt x="133" y="0"/>
                  <a:pt x="134" y="0"/>
                  <a:pt x="134" y="0"/>
                </a:cubicBezTo>
                <a:close/>
                <a:moveTo>
                  <a:pt x="57" y="79"/>
                </a:moveTo>
                <a:cubicBezTo>
                  <a:pt x="54" y="136"/>
                  <a:pt x="54" y="136"/>
                  <a:pt x="54" y="136"/>
                </a:cubicBezTo>
                <a:cubicBezTo>
                  <a:pt x="54" y="136"/>
                  <a:pt x="54" y="137"/>
                  <a:pt x="54" y="137"/>
                </a:cubicBezTo>
                <a:cubicBezTo>
                  <a:pt x="55" y="137"/>
                  <a:pt x="55" y="137"/>
                  <a:pt x="56" y="137"/>
                </a:cubicBezTo>
                <a:cubicBezTo>
                  <a:pt x="82" y="131"/>
                  <a:pt x="111" y="144"/>
                  <a:pt x="132" y="173"/>
                </a:cubicBezTo>
                <a:cubicBezTo>
                  <a:pt x="133" y="174"/>
                  <a:pt x="134" y="174"/>
                  <a:pt x="134" y="173"/>
                </a:cubicBezTo>
                <a:cubicBezTo>
                  <a:pt x="155" y="144"/>
                  <a:pt x="185" y="131"/>
                  <a:pt x="211" y="137"/>
                </a:cubicBezTo>
                <a:cubicBezTo>
                  <a:pt x="212" y="137"/>
                  <a:pt x="212" y="137"/>
                  <a:pt x="213" y="137"/>
                </a:cubicBezTo>
                <a:cubicBezTo>
                  <a:pt x="213" y="137"/>
                  <a:pt x="213" y="136"/>
                  <a:pt x="213" y="136"/>
                </a:cubicBezTo>
                <a:cubicBezTo>
                  <a:pt x="209" y="80"/>
                  <a:pt x="209" y="80"/>
                  <a:pt x="209" y="80"/>
                </a:cubicBezTo>
                <a:cubicBezTo>
                  <a:pt x="139" y="111"/>
                  <a:pt x="139" y="111"/>
                  <a:pt x="139" y="111"/>
                </a:cubicBezTo>
                <a:cubicBezTo>
                  <a:pt x="135" y="112"/>
                  <a:pt x="131" y="112"/>
                  <a:pt x="128" y="111"/>
                </a:cubicBezTo>
                <a:cubicBezTo>
                  <a:pt x="57" y="79"/>
                  <a:pt x="57" y="79"/>
                  <a:pt x="57" y="7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Freeform 144">
            <a:extLst>
              <a:ext uri="{FF2B5EF4-FFF2-40B4-BE49-F238E27FC236}">
                <a16:creationId xmlns:a16="http://schemas.microsoft.com/office/drawing/2014/main" id="{E35E5670-1421-122A-114C-C65294FFE11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1225" y="5371028"/>
            <a:ext cx="474572" cy="473849"/>
          </a:xfrm>
          <a:custGeom>
            <a:avLst/>
            <a:gdLst/>
            <a:ahLst/>
            <a:cxnLst>
              <a:cxn ang="0">
                <a:pos x="253" y="60"/>
              </a:cxn>
              <a:cxn ang="0">
                <a:pos x="145" y="0"/>
              </a:cxn>
              <a:cxn ang="0">
                <a:pos x="132" y="0"/>
              </a:cxn>
              <a:cxn ang="0">
                <a:pos x="25" y="60"/>
              </a:cxn>
              <a:cxn ang="0">
                <a:pos x="0" y="139"/>
              </a:cxn>
              <a:cxn ang="0">
                <a:pos x="27" y="221"/>
              </a:cxn>
              <a:cxn ang="0">
                <a:pos x="132" y="278"/>
              </a:cxn>
              <a:cxn ang="0">
                <a:pos x="145" y="278"/>
              </a:cxn>
              <a:cxn ang="0">
                <a:pos x="251" y="221"/>
              </a:cxn>
              <a:cxn ang="0">
                <a:pos x="278" y="139"/>
              </a:cxn>
              <a:cxn ang="0">
                <a:pos x="228" y="50"/>
              </a:cxn>
              <a:cxn ang="0">
                <a:pos x="196" y="71"/>
              </a:cxn>
              <a:cxn ang="0">
                <a:pos x="228" y="50"/>
              </a:cxn>
              <a:cxn ang="0">
                <a:pos x="85" y="135"/>
              </a:cxn>
              <a:cxn ang="0">
                <a:pos x="132" y="90"/>
              </a:cxn>
              <a:cxn ang="0">
                <a:pos x="132" y="147"/>
              </a:cxn>
              <a:cxn ang="0">
                <a:pos x="92" y="196"/>
              </a:cxn>
              <a:cxn ang="0">
                <a:pos x="132" y="147"/>
              </a:cxn>
              <a:cxn ang="0">
                <a:pos x="192" y="147"/>
              </a:cxn>
              <a:cxn ang="0">
                <a:pos x="145" y="192"/>
              </a:cxn>
              <a:cxn ang="0">
                <a:pos x="145" y="135"/>
              </a:cxn>
              <a:cxn ang="0">
                <a:pos x="187" y="86"/>
              </a:cxn>
              <a:cxn ang="0">
                <a:pos x="145" y="135"/>
              </a:cxn>
              <a:cxn ang="0">
                <a:pos x="145" y="77"/>
              </a:cxn>
              <a:cxn ang="0">
                <a:pos x="184" y="74"/>
              </a:cxn>
              <a:cxn ang="0">
                <a:pos x="132" y="77"/>
              </a:cxn>
              <a:cxn ang="0">
                <a:pos x="132" y="17"/>
              </a:cxn>
              <a:cxn ang="0">
                <a:pos x="111" y="16"/>
              </a:cxn>
              <a:cxn ang="0">
                <a:pos x="43" y="57"/>
              </a:cxn>
              <a:cxn ang="0">
                <a:pos x="35" y="67"/>
              </a:cxn>
              <a:cxn ang="0">
                <a:pos x="72" y="135"/>
              </a:cxn>
              <a:cxn ang="0">
                <a:pos x="35" y="67"/>
              </a:cxn>
              <a:cxn ang="0">
                <a:pos x="13" y="147"/>
              </a:cxn>
              <a:cxn ang="0">
                <a:pos x="79" y="198"/>
              </a:cxn>
              <a:cxn ang="0">
                <a:pos x="50" y="228"/>
              </a:cxn>
              <a:cxn ang="0">
                <a:pos x="82" y="211"/>
              </a:cxn>
              <a:cxn ang="0">
                <a:pos x="50" y="228"/>
              </a:cxn>
              <a:cxn ang="0">
                <a:pos x="132" y="204"/>
              </a:cxn>
              <a:cxn ang="0">
                <a:pos x="95" y="208"/>
              </a:cxn>
              <a:cxn ang="0">
                <a:pos x="145" y="204"/>
              </a:cxn>
              <a:cxn ang="0">
                <a:pos x="145" y="260"/>
              </a:cxn>
              <a:cxn ang="0">
                <a:pos x="167" y="262"/>
              </a:cxn>
              <a:cxn ang="0">
                <a:pos x="232" y="224"/>
              </a:cxn>
              <a:cxn ang="0">
                <a:pos x="240" y="214"/>
              </a:cxn>
              <a:cxn ang="0">
                <a:pos x="205" y="147"/>
              </a:cxn>
              <a:cxn ang="0">
                <a:pos x="240" y="214"/>
              </a:cxn>
              <a:cxn ang="0">
                <a:pos x="199" y="83"/>
              </a:cxn>
              <a:cxn ang="0">
                <a:pos x="265" y="135"/>
              </a:cxn>
            </a:cxnLst>
            <a:rect l="0" t="0" r="r" b="b"/>
            <a:pathLst>
              <a:path w="278" h="278">
                <a:moveTo>
                  <a:pt x="278" y="135"/>
                </a:moveTo>
                <a:cubicBezTo>
                  <a:pt x="277" y="107"/>
                  <a:pt x="268" y="81"/>
                  <a:pt x="253" y="60"/>
                </a:cubicBezTo>
                <a:cubicBezTo>
                  <a:pt x="250" y="56"/>
                  <a:pt x="248" y="53"/>
                  <a:pt x="245" y="50"/>
                </a:cubicBezTo>
                <a:cubicBezTo>
                  <a:pt x="221" y="21"/>
                  <a:pt x="185" y="2"/>
                  <a:pt x="145" y="0"/>
                </a:cubicBezTo>
                <a:cubicBezTo>
                  <a:pt x="143" y="0"/>
                  <a:pt x="141" y="0"/>
                  <a:pt x="139" y="0"/>
                </a:cubicBezTo>
                <a:cubicBezTo>
                  <a:pt x="137" y="0"/>
                  <a:pt x="135" y="0"/>
                  <a:pt x="132" y="0"/>
                </a:cubicBezTo>
                <a:cubicBezTo>
                  <a:pt x="92" y="2"/>
                  <a:pt x="57" y="21"/>
                  <a:pt x="32" y="50"/>
                </a:cubicBezTo>
                <a:cubicBezTo>
                  <a:pt x="30" y="53"/>
                  <a:pt x="27" y="56"/>
                  <a:pt x="25" y="60"/>
                </a:cubicBezTo>
                <a:cubicBezTo>
                  <a:pt x="10" y="81"/>
                  <a:pt x="1" y="107"/>
                  <a:pt x="0" y="135"/>
                </a:cubicBezTo>
                <a:cubicBezTo>
                  <a:pt x="0" y="136"/>
                  <a:pt x="0" y="137"/>
                  <a:pt x="0" y="139"/>
                </a:cubicBezTo>
                <a:cubicBezTo>
                  <a:pt x="0" y="142"/>
                  <a:pt x="0" y="145"/>
                  <a:pt x="0" y="147"/>
                </a:cubicBezTo>
                <a:cubicBezTo>
                  <a:pt x="2" y="175"/>
                  <a:pt x="11" y="200"/>
                  <a:pt x="27" y="221"/>
                </a:cubicBezTo>
                <a:cubicBezTo>
                  <a:pt x="29" y="224"/>
                  <a:pt x="32" y="228"/>
                  <a:pt x="35" y="231"/>
                </a:cubicBezTo>
                <a:cubicBezTo>
                  <a:pt x="59" y="258"/>
                  <a:pt x="94" y="276"/>
                  <a:pt x="132" y="278"/>
                </a:cubicBezTo>
                <a:cubicBezTo>
                  <a:pt x="135" y="278"/>
                  <a:pt x="137" y="278"/>
                  <a:pt x="139" y="278"/>
                </a:cubicBezTo>
                <a:cubicBezTo>
                  <a:pt x="141" y="278"/>
                  <a:pt x="143" y="278"/>
                  <a:pt x="145" y="278"/>
                </a:cubicBezTo>
                <a:cubicBezTo>
                  <a:pt x="184" y="276"/>
                  <a:pt x="219" y="258"/>
                  <a:pt x="243" y="231"/>
                </a:cubicBezTo>
                <a:cubicBezTo>
                  <a:pt x="246" y="228"/>
                  <a:pt x="248" y="224"/>
                  <a:pt x="251" y="221"/>
                </a:cubicBezTo>
                <a:cubicBezTo>
                  <a:pt x="266" y="200"/>
                  <a:pt x="276" y="175"/>
                  <a:pt x="277" y="147"/>
                </a:cubicBezTo>
                <a:cubicBezTo>
                  <a:pt x="278" y="145"/>
                  <a:pt x="278" y="142"/>
                  <a:pt x="278" y="139"/>
                </a:cubicBezTo>
                <a:cubicBezTo>
                  <a:pt x="278" y="137"/>
                  <a:pt x="278" y="136"/>
                  <a:pt x="278" y="135"/>
                </a:cubicBezTo>
                <a:close/>
                <a:moveTo>
                  <a:pt x="228" y="50"/>
                </a:moveTo>
                <a:cubicBezTo>
                  <a:pt x="230" y="52"/>
                  <a:pt x="232" y="54"/>
                  <a:pt x="234" y="57"/>
                </a:cubicBezTo>
                <a:cubicBezTo>
                  <a:pt x="224" y="62"/>
                  <a:pt x="211" y="67"/>
                  <a:pt x="196" y="71"/>
                </a:cubicBezTo>
                <a:cubicBezTo>
                  <a:pt x="190" y="47"/>
                  <a:pt x="179" y="28"/>
                  <a:pt x="167" y="16"/>
                </a:cubicBezTo>
                <a:cubicBezTo>
                  <a:pt x="190" y="21"/>
                  <a:pt x="211" y="33"/>
                  <a:pt x="228" y="50"/>
                </a:cubicBezTo>
                <a:close/>
                <a:moveTo>
                  <a:pt x="132" y="135"/>
                </a:moveTo>
                <a:cubicBezTo>
                  <a:pt x="85" y="135"/>
                  <a:pt x="85" y="135"/>
                  <a:pt x="85" y="135"/>
                </a:cubicBezTo>
                <a:cubicBezTo>
                  <a:pt x="85" y="117"/>
                  <a:pt x="87" y="101"/>
                  <a:pt x="91" y="86"/>
                </a:cubicBezTo>
                <a:cubicBezTo>
                  <a:pt x="104" y="88"/>
                  <a:pt x="118" y="90"/>
                  <a:pt x="132" y="90"/>
                </a:cubicBezTo>
                <a:lnTo>
                  <a:pt x="132" y="135"/>
                </a:lnTo>
                <a:close/>
                <a:moveTo>
                  <a:pt x="132" y="147"/>
                </a:moveTo>
                <a:cubicBezTo>
                  <a:pt x="132" y="192"/>
                  <a:pt x="132" y="192"/>
                  <a:pt x="132" y="192"/>
                </a:cubicBezTo>
                <a:cubicBezTo>
                  <a:pt x="118" y="192"/>
                  <a:pt x="104" y="193"/>
                  <a:pt x="92" y="196"/>
                </a:cubicBezTo>
                <a:cubicBezTo>
                  <a:pt x="88" y="181"/>
                  <a:pt x="86" y="165"/>
                  <a:pt x="85" y="147"/>
                </a:cubicBezTo>
                <a:lnTo>
                  <a:pt x="132" y="147"/>
                </a:lnTo>
                <a:close/>
                <a:moveTo>
                  <a:pt x="145" y="147"/>
                </a:moveTo>
                <a:cubicBezTo>
                  <a:pt x="192" y="147"/>
                  <a:pt x="192" y="147"/>
                  <a:pt x="192" y="147"/>
                </a:cubicBezTo>
                <a:cubicBezTo>
                  <a:pt x="192" y="165"/>
                  <a:pt x="190" y="181"/>
                  <a:pt x="186" y="196"/>
                </a:cubicBezTo>
                <a:cubicBezTo>
                  <a:pt x="173" y="193"/>
                  <a:pt x="160" y="192"/>
                  <a:pt x="145" y="192"/>
                </a:cubicBezTo>
                <a:lnTo>
                  <a:pt x="145" y="147"/>
                </a:lnTo>
                <a:close/>
                <a:moveTo>
                  <a:pt x="145" y="135"/>
                </a:moveTo>
                <a:cubicBezTo>
                  <a:pt x="145" y="90"/>
                  <a:pt x="145" y="90"/>
                  <a:pt x="145" y="90"/>
                </a:cubicBezTo>
                <a:cubicBezTo>
                  <a:pt x="160" y="90"/>
                  <a:pt x="174" y="88"/>
                  <a:pt x="187" y="86"/>
                </a:cubicBezTo>
                <a:cubicBezTo>
                  <a:pt x="190" y="101"/>
                  <a:pt x="192" y="117"/>
                  <a:pt x="192" y="135"/>
                </a:cubicBezTo>
                <a:lnTo>
                  <a:pt x="145" y="135"/>
                </a:lnTo>
                <a:close/>
                <a:moveTo>
                  <a:pt x="184" y="74"/>
                </a:moveTo>
                <a:cubicBezTo>
                  <a:pt x="172" y="76"/>
                  <a:pt x="159" y="77"/>
                  <a:pt x="145" y="77"/>
                </a:cubicBezTo>
                <a:cubicBezTo>
                  <a:pt x="145" y="17"/>
                  <a:pt x="145" y="17"/>
                  <a:pt x="145" y="17"/>
                </a:cubicBezTo>
                <a:cubicBezTo>
                  <a:pt x="160" y="22"/>
                  <a:pt x="175" y="43"/>
                  <a:pt x="184" y="74"/>
                </a:cubicBezTo>
                <a:close/>
                <a:moveTo>
                  <a:pt x="132" y="17"/>
                </a:moveTo>
                <a:cubicBezTo>
                  <a:pt x="132" y="77"/>
                  <a:pt x="132" y="77"/>
                  <a:pt x="132" y="77"/>
                </a:cubicBezTo>
                <a:cubicBezTo>
                  <a:pt x="119" y="77"/>
                  <a:pt x="106" y="76"/>
                  <a:pt x="94" y="74"/>
                </a:cubicBezTo>
                <a:cubicBezTo>
                  <a:pt x="103" y="43"/>
                  <a:pt x="118" y="22"/>
                  <a:pt x="132" y="17"/>
                </a:cubicBezTo>
                <a:close/>
                <a:moveTo>
                  <a:pt x="50" y="50"/>
                </a:moveTo>
                <a:cubicBezTo>
                  <a:pt x="66" y="33"/>
                  <a:pt x="87" y="21"/>
                  <a:pt x="111" y="16"/>
                </a:cubicBezTo>
                <a:cubicBezTo>
                  <a:pt x="98" y="28"/>
                  <a:pt x="88" y="47"/>
                  <a:pt x="81" y="71"/>
                </a:cubicBezTo>
                <a:cubicBezTo>
                  <a:pt x="66" y="67"/>
                  <a:pt x="53" y="62"/>
                  <a:pt x="43" y="57"/>
                </a:cubicBezTo>
                <a:cubicBezTo>
                  <a:pt x="45" y="54"/>
                  <a:pt x="47" y="52"/>
                  <a:pt x="50" y="50"/>
                </a:cubicBezTo>
                <a:close/>
                <a:moveTo>
                  <a:pt x="35" y="67"/>
                </a:moveTo>
                <a:cubicBezTo>
                  <a:pt x="47" y="74"/>
                  <a:pt x="62" y="79"/>
                  <a:pt x="78" y="83"/>
                </a:cubicBezTo>
                <a:cubicBezTo>
                  <a:pt x="75" y="99"/>
                  <a:pt x="73" y="116"/>
                  <a:pt x="72" y="135"/>
                </a:cubicBezTo>
                <a:cubicBezTo>
                  <a:pt x="13" y="135"/>
                  <a:pt x="13" y="135"/>
                  <a:pt x="13" y="135"/>
                </a:cubicBezTo>
                <a:cubicBezTo>
                  <a:pt x="14" y="109"/>
                  <a:pt x="22" y="86"/>
                  <a:pt x="35" y="67"/>
                </a:cubicBezTo>
                <a:close/>
                <a:moveTo>
                  <a:pt x="37" y="214"/>
                </a:moveTo>
                <a:cubicBezTo>
                  <a:pt x="23" y="195"/>
                  <a:pt x="15" y="172"/>
                  <a:pt x="13" y="147"/>
                </a:cubicBezTo>
                <a:cubicBezTo>
                  <a:pt x="72" y="147"/>
                  <a:pt x="72" y="147"/>
                  <a:pt x="72" y="147"/>
                </a:cubicBezTo>
                <a:cubicBezTo>
                  <a:pt x="73" y="166"/>
                  <a:pt x="75" y="183"/>
                  <a:pt x="79" y="198"/>
                </a:cubicBezTo>
                <a:cubicBezTo>
                  <a:pt x="63" y="202"/>
                  <a:pt x="49" y="207"/>
                  <a:pt x="37" y="214"/>
                </a:cubicBezTo>
                <a:close/>
                <a:moveTo>
                  <a:pt x="50" y="228"/>
                </a:moveTo>
                <a:cubicBezTo>
                  <a:pt x="48" y="227"/>
                  <a:pt x="47" y="225"/>
                  <a:pt x="46" y="224"/>
                </a:cubicBezTo>
                <a:cubicBezTo>
                  <a:pt x="56" y="219"/>
                  <a:pt x="68" y="214"/>
                  <a:pt x="82" y="211"/>
                </a:cubicBezTo>
                <a:cubicBezTo>
                  <a:pt x="89" y="233"/>
                  <a:pt x="99" y="251"/>
                  <a:pt x="111" y="262"/>
                </a:cubicBezTo>
                <a:cubicBezTo>
                  <a:pt x="87" y="257"/>
                  <a:pt x="66" y="245"/>
                  <a:pt x="50" y="228"/>
                </a:cubicBezTo>
                <a:close/>
                <a:moveTo>
                  <a:pt x="95" y="208"/>
                </a:moveTo>
                <a:cubicBezTo>
                  <a:pt x="106" y="206"/>
                  <a:pt x="119" y="205"/>
                  <a:pt x="132" y="204"/>
                </a:cubicBezTo>
                <a:cubicBezTo>
                  <a:pt x="132" y="260"/>
                  <a:pt x="132" y="260"/>
                  <a:pt x="132" y="260"/>
                </a:cubicBezTo>
                <a:cubicBezTo>
                  <a:pt x="118" y="256"/>
                  <a:pt x="104" y="237"/>
                  <a:pt x="95" y="208"/>
                </a:cubicBezTo>
                <a:close/>
                <a:moveTo>
                  <a:pt x="145" y="260"/>
                </a:moveTo>
                <a:cubicBezTo>
                  <a:pt x="145" y="204"/>
                  <a:pt x="145" y="204"/>
                  <a:pt x="145" y="204"/>
                </a:cubicBezTo>
                <a:cubicBezTo>
                  <a:pt x="159" y="205"/>
                  <a:pt x="171" y="206"/>
                  <a:pt x="183" y="208"/>
                </a:cubicBezTo>
                <a:cubicBezTo>
                  <a:pt x="174" y="237"/>
                  <a:pt x="159" y="256"/>
                  <a:pt x="145" y="260"/>
                </a:cubicBezTo>
                <a:close/>
                <a:moveTo>
                  <a:pt x="228" y="228"/>
                </a:moveTo>
                <a:cubicBezTo>
                  <a:pt x="211" y="245"/>
                  <a:pt x="190" y="257"/>
                  <a:pt x="167" y="262"/>
                </a:cubicBezTo>
                <a:cubicBezTo>
                  <a:pt x="178" y="251"/>
                  <a:pt x="188" y="233"/>
                  <a:pt x="195" y="211"/>
                </a:cubicBezTo>
                <a:cubicBezTo>
                  <a:pt x="209" y="214"/>
                  <a:pt x="222" y="219"/>
                  <a:pt x="232" y="224"/>
                </a:cubicBezTo>
                <a:cubicBezTo>
                  <a:pt x="231" y="225"/>
                  <a:pt x="229" y="227"/>
                  <a:pt x="228" y="228"/>
                </a:cubicBezTo>
                <a:close/>
                <a:moveTo>
                  <a:pt x="240" y="214"/>
                </a:moveTo>
                <a:cubicBezTo>
                  <a:pt x="229" y="207"/>
                  <a:pt x="214" y="202"/>
                  <a:pt x="199" y="198"/>
                </a:cubicBezTo>
                <a:cubicBezTo>
                  <a:pt x="202" y="183"/>
                  <a:pt x="205" y="166"/>
                  <a:pt x="205" y="147"/>
                </a:cubicBezTo>
                <a:cubicBezTo>
                  <a:pt x="265" y="147"/>
                  <a:pt x="265" y="147"/>
                  <a:pt x="265" y="147"/>
                </a:cubicBezTo>
                <a:cubicBezTo>
                  <a:pt x="263" y="172"/>
                  <a:pt x="254" y="195"/>
                  <a:pt x="240" y="214"/>
                </a:cubicBezTo>
                <a:close/>
                <a:moveTo>
                  <a:pt x="205" y="135"/>
                </a:moveTo>
                <a:cubicBezTo>
                  <a:pt x="205" y="116"/>
                  <a:pt x="203" y="99"/>
                  <a:pt x="199" y="83"/>
                </a:cubicBezTo>
                <a:cubicBezTo>
                  <a:pt x="216" y="79"/>
                  <a:pt x="230" y="74"/>
                  <a:pt x="242" y="67"/>
                </a:cubicBezTo>
                <a:cubicBezTo>
                  <a:pt x="256" y="86"/>
                  <a:pt x="264" y="109"/>
                  <a:pt x="265" y="135"/>
                </a:cubicBezTo>
                <a:lnTo>
                  <a:pt x="205" y="13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1514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37475"/>
            <a:ext cx="7551996" cy="3065006"/>
          </a:xfrm>
        </p:spPr>
        <p:txBody>
          <a:bodyPr/>
          <a:lstStyle/>
          <a:p>
            <a:r>
              <a:rPr lang="cs-CZ" dirty="0"/>
              <a:t>Výsledky </a:t>
            </a:r>
            <a:br>
              <a:rPr lang="cs-CZ" dirty="0"/>
            </a:br>
            <a:r>
              <a:rPr lang="cs-CZ" dirty="0"/>
              <a:t>v detailu: firmy </a:t>
            </a:r>
            <a:br>
              <a:rPr lang="cs-CZ" dirty="0"/>
            </a:br>
            <a:r>
              <a:rPr lang="cs-CZ" dirty="0"/>
              <a:t>A inova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25576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Zástupný symbol pro obsah 6">
            <a:extLst>
              <a:ext uri="{FF2B5EF4-FFF2-40B4-BE49-F238E27FC236}">
                <a16:creationId xmlns:a16="http://schemas.microsoft.com/office/drawing/2014/main" id="{4048C87F-4B5F-2CE3-3A57-93B1CCB00FB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29496234"/>
              </p:ext>
            </p:extLst>
          </p:nvPr>
        </p:nvGraphicFramePr>
        <p:xfrm>
          <a:off x="-139955" y="2544870"/>
          <a:ext cx="10870163" cy="2263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20643"/>
            <a:ext cx="11381746" cy="397032"/>
          </a:xfrm>
        </p:spPr>
        <p:txBody>
          <a:bodyPr/>
          <a:lstStyle/>
          <a:p>
            <a:r>
              <a:rPr lang="cs-CZ" sz="2200" dirty="0"/>
              <a:t>Přibližně třetina malých a středních podniků se považuje za inovativní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Do jaké míry je podle Vás Vaše společnost inovativní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898206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1. Do jaké míry je podle Vás Vaše společnost inovativní?</a:t>
            </a:r>
            <a:b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=305/196/109/93/33/119/60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8" name="Tabulka 67">
            <a:extLst>
              <a:ext uri="{FF2B5EF4-FFF2-40B4-BE49-F238E27FC236}">
                <a16:creationId xmlns:a16="http://schemas.microsoft.com/office/drawing/2014/main" id="{9E46368E-9CA5-423B-B991-E35B66E7C5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8694866"/>
              </p:ext>
            </p:extLst>
          </p:nvPr>
        </p:nvGraphicFramePr>
        <p:xfrm>
          <a:off x="434017" y="4871291"/>
          <a:ext cx="7086457" cy="512445"/>
        </p:xfrm>
        <a:graphic>
          <a:graphicData uri="http://schemas.openxmlformats.org/drawingml/2006/table">
            <a:tbl>
              <a:tblPr firstRow="1" bandRow="1"/>
              <a:tblGrid>
                <a:gridCol w="1012351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759263392"/>
                    </a:ext>
                  </a:extLst>
                </a:gridCol>
                <a:gridCol w="1012351">
                  <a:extLst>
                    <a:ext uri="{9D8B030D-6E8A-4147-A177-3AD203B41FA5}">
                      <a16:colId xmlns:a16="http://schemas.microsoft.com/office/drawing/2014/main" val="612859211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  <a:endParaRPr lang="en-US" sz="14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/</a:t>
                      </a:r>
                      <a:b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atní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cxnSp>
        <p:nvCxnSpPr>
          <p:cNvPr id="70" name="Přímá spojnice 69">
            <a:extLst>
              <a:ext uri="{FF2B5EF4-FFF2-40B4-BE49-F238E27FC236}">
                <a16:creationId xmlns:a16="http://schemas.microsoft.com/office/drawing/2014/main" id="{62AD2A0E-E7CB-4822-AFE3-14FCB0F3B1AF}"/>
              </a:ext>
            </a:extLst>
          </p:cNvPr>
          <p:cNvCxnSpPr/>
          <p:nvPr/>
        </p:nvCxnSpPr>
        <p:spPr>
          <a:xfrm>
            <a:off x="138737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2" name="Tabulka 71">
            <a:extLst>
              <a:ext uri="{FF2B5EF4-FFF2-40B4-BE49-F238E27FC236}">
                <a16:creationId xmlns:a16="http://schemas.microsoft.com/office/drawing/2014/main" id="{2F9C9028-8BA1-40D2-A885-5C279CB673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187596"/>
              </p:ext>
            </p:extLst>
          </p:nvPr>
        </p:nvGraphicFramePr>
        <p:xfrm>
          <a:off x="7926279" y="2219718"/>
          <a:ext cx="3214152" cy="3004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141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r>
                        <a:rPr lang="en-US" sz="1100" b="0" noProof="0" dirty="0">
                          <a:solidFill>
                            <a:srgbClr val="281051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en-US" sz="1100" b="0" noProof="0" dirty="0">
                          <a:solidFill>
                            <a:srgbClr val="1F497D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100" b="1" noProof="0" dirty="0">
                          <a:solidFill>
                            <a:srgbClr val="404040"/>
                          </a:solidFill>
                        </a:rPr>
                        <a:t>+</a:t>
                      </a:r>
                      <a:r>
                        <a:rPr lang="en-US" sz="1100" b="0" noProof="0" dirty="0">
                          <a:solidFill>
                            <a:srgbClr val="95C3FF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cs-CZ" sz="1100" b="1" baseline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 </a:t>
                      </a:r>
                      <a:r>
                        <a:rPr lang="cs-CZ" sz="1100" b="1" i="1" kern="1200" noProof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Společnost je inovativní</a:t>
                      </a:r>
                      <a:endParaRPr lang="en-US" sz="1100" b="1" i="1" kern="1200" noProof="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108135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n"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10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r>
                        <a:rPr lang="en-US" sz="1000" b="0" noProof="0" dirty="0">
                          <a:solidFill>
                            <a:srgbClr val="008BCA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9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>
                          <a:solidFill>
                            <a:srgbClr val="95C3FF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000" b="0" baseline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8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r>
                        <a:rPr lang="en-US" sz="1000" b="0" noProof="0" dirty="0">
                          <a:solidFill>
                            <a:srgbClr val="ED6737"/>
                          </a:solidFill>
                          <a:sym typeface="Wingdings" panose="05000000000000000000" pitchFamily="2" charset="2"/>
                        </a:rPr>
                        <a:t> </a:t>
                      </a:r>
                      <a:r>
                        <a:rPr lang="cs-CZ" sz="1000" b="0" kern="1200" baseline="0" noProof="0" dirty="0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6-7</a:t>
                      </a:r>
                      <a:endParaRPr lang="en-US" sz="1000" b="0" kern="1200" baseline="0" noProof="0" dirty="0">
                        <a:solidFill>
                          <a:srgbClr val="4040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</a:t>
                      </a:r>
                      <a:r>
                        <a:rPr lang="en-US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1-5</a:t>
                      </a:r>
                      <a:endParaRPr lang="en-US" sz="1000" b="0" noProof="0" dirty="0">
                        <a:solidFill>
                          <a:srgbClr val="40404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</a:tbl>
          </a:graphicData>
        </a:graphic>
      </p:graphicFrame>
      <p:sp>
        <p:nvSpPr>
          <p:cNvPr id="4" name="Zástupný symbol pro zápatí 2">
            <a:extLst>
              <a:ext uri="{FF2B5EF4-FFF2-40B4-BE49-F238E27FC236}">
                <a16:creationId xmlns:a16="http://schemas.microsoft.com/office/drawing/2014/main" id="{A2EB5C7D-7E41-2312-74FF-5AB7EB758A0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graphicFrame>
        <p:nvGraphicFramePr>
          <p:cNvPr id="22" name="Tabulka 1">
            <a:extLst>
              <a:ext uri="{FF2B5EF4-FFF2-40B4-BE49-F238E27FC236}">
                <a16:creationId xmlns:a16="http://schemas.microsoft.com/office/drawing/2014/main" id="{6FFC0A8E-9273-CAB2-DBBA-2E62373FC6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7473480"/>
              </p:ext>
            </p:extLst>
          </p:nvPr>
        </p:nvGraphicFramePr>
        <p:xfrm>
          <a:off x="388860" y="2316427"/>
          <a:ext cx="7131614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880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3342435297"/>
                    </a:ext>
                  </a:extLst>
                </a:gridCol>
                <a:gridCol w="1018802">
                  <a:extLst>
                    <a:ext uri="{9D8B030D-6E8A-4147-A177-3AD203B41FA5}">
                      <a16:colId xmlns:a16="http://schemas.microsoft.com/office/drawing/2014/main" val="1036643538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7038E583-27AD-9A8E-5E2B-6181F54158AA}"/>
              </a:ext>
            </a:extLst>
          </p:cNvPr>
          <p:cNvCxnSpPr/>
          <p:nvPr/>
        </p:nvCxnSpPr>
        <p:spPr>
          <a:xfrm>
            <a:off x="3440494" y="204382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69988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3995274"/>
              </p:ext>
            </p:extLst>
          </p:nvPr>
        </p:nvGraphicFramePr>
        <p:xfrm>
          <a:off x="499756" y="1677404"/>
          <a:ext cx="11214813" cy="39192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079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88904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936325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936325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9363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63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632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36325">
                  <a:extLst>
                    <a:ext uri="{9D8B030D-6E8A-4147-A177-3AD203B41FA5}">
                      <a16:colId xmlns:a16="http://schemas.microsoft.com/office/drawing/2014/main" val="3406392275"/>
                    </a:ext>
                  </a:extLst>
                </a:gridCol>
              </a:tblGrid>
              <a:tr h="315357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/</a:t>
                      </a:r>
                      <a:b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atn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ecné vyhledávání na internetu (např. pomocí Google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nk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četn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verzita/vysoká škol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chodní komor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ůmyslová sdružen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gentura pro podnikání a inovac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ládní instituce (Jiné než Úřad duševního vlastnictví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281680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tentový/právní zástupc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řad průmyslového vlastnictv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859856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ístní centrum (např. RIS3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092377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kcelerátor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356358"/>
                  </a:ext>
                </a:extLst>
              </a:tr>
              <a:tr h="277221">
                <a:tc>
                  <a:txBody>
                    <a:bodyPr/>
                    <a:lstStyle/>
                    <a:p>
                      <a:pPr algn="r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ánky EPO, EUIPO nebo WIPO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9553060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5506229"/>
              </p:ext>
            </p:extLst>
          </p:nvPr>
        </p:nvGraphicFramePr>
        <p:xfrm>
          <a:off x="4290591" y="1496945"/>
          <a:ext cx="2596770" cy="4095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1214815" cy="701731"/>
          </a:xfrm>
        </p:spPr>
        <p:txBody>
          <a:bodyPr/>
          <a:lstStyle/>
          <a:p>
            <a:r>
              <a:rPr lang="cs-CZ" sz="2200" dirty="0"/>
              <a:t>Nejčastějšími zdroji k získání informací pro rozvoj podnikání jsou obecné vyhledávání na internetu, banka, účetní a vysoká škola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Zdroje užívané k získání informací důležitých pro rozvoj podnikání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618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5">
              <a:lnSpc>
                <a:spcPts val="1400"/>
              </a:lnSpc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6. Který z následujících zdrojů používáte k získání informací důležitých pro rozvoj Vašeho podnikání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=305/196/109/93/33/152/60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E323A2C-1812-757F-6061-06F0F4E917DF}"/>
              </a:ext>
            </a:extLst>
          </p:cNvPr>
          <p:cNvSpPr txBox="1"/>
          <p:nvPr/>
        </p:nvSpPr>
        <p:spPr>
          <a:xfrm>
            <a:off x="3706498" y="5631013"/>
            <a:ext cx="20699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Zobrazeny pouze hodnoty nad 1 %)</a:t>
            </a:r>
          </a:p>
        </p:txBody>
      </p:sp>
    </p:spTree>
    <p:extLst>
      <p:ext uri="{BB962C8B-B14F-4D97-AF65-F5344CB8AC3E}">
        <p14:creationId xmlns:p14="http://schemas.microsoft.com/office/powerpoint/2010/main" val="27074154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20643"/>
            <a:ext cx="11213966" cy="701731"/>
          </a:xfrm>
        </p:spPr>
        <p:txBody>
          <a:bodyPr/>
          <a:lstStyle/>
          <a:p>
            <a:r>
              <a:rPr lang="cs-CZ" sz="2200" dirty="0"/>
              <a:t>NEJLÉPE HODNOCENÝMI ZDROJI PRO ZÍSKÁNÍ INFORMACÍ DŮLEŽITÝCH PRO ROZVOJ PODNIKÁNÍ JSOU UNIVERZITA ČI VYSOKÁ ŠKOLA  a průmyslová sdružení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89896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Hodnocení zdrojů užívaných k získání informací důležitých pro rozvoj podnikání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4" name="Zástupný symbol pro zápatí 2">
            <a:extLst>
              <a:ext uri="{FF2B5EF4-FFF2-40B4-BE49-F238E27FC236}">
                <a16:creationId xmlns:a16="http://schemas.microsoft.com/office/drawing/2014/main" id="{A2EB5C7D-7E41-2312-74FF-5AB7EB758A0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2829" y="6279270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Úřad průmyslového vlastnictví | Duševní vlastnictví | 04/2023</a:t>
            </a:r>
          </a:p>
        </p:txBody>
      </p:sp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CA74A29E-45EA-09B0-B262-C7EF4E33FB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9439044"/>
              </p:ext>
            </p:extLst>
          </p:nvPr>
        </p:nvGraphicFramePr>
        <p:xfrm>
          <a:off x="10464024" y="2480845"/>
          <a:ext cx="936232" cy="24406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2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5 - Vynikající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5272764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000" b="0" kern="1200" noProof="0" dirty="0">
                          <a:solidFill>
                            <a:srgbClr val="404040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3</a:t>
                      </a:r>
                      <a:endParaRPr lang="cs-CZ" sz="1000" b="0" kern="1200" dirty="0">
                        <a:solidFill>
                          <a:srgbClr val="4040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0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1 - Špatný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0066467"/>
                  </a:ext>
                </a:extLst>
              </a:tr>
            </a:tbl>
          </a:graphicData>
        </a:graphic>
      </p:graphicFrame>
      <p:sp>
        <p:nvSpPr>
          <p:cNvPr id="23" name="Rectangle 24">
            <a:extLst>
              <a:ext uri="{FF2B5EF4-FFF2-40B4-BE49-F238E27FC236}">
                <a16:creationId xmlns:a16="http://schemas.microsoft.com/office/drawing/2014/main" id="{468178E7-3E42-2A7C-F608-78EFD681F26B}"/>
              </a:ext>
            </a:extLst>
          </p:cNvPr>
          <p:cNvSpPr/>
          <p:nvPr/>
        </p:nvSpPr>
        <p:spPr>
          <a:xfrm>
            <a:off x="10356024" y="3155380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1AA1FB43-AB67-2163-2543-BE9E36D2269E}"/>
              </a:ext>
            </a:extLst>
          </p:cNvPr>
          <p:cNvSpPr/>
          <p:nvPr/>
        </p:nvSpPr>
        <p:spPr>
          <a:xfrm>
            <a:off x="10356147" y="3635133"/>
            <a:ext cx="108000" cy="108000"/>
          </a:xfrm>
          <a:prstGeom prst="rect">
            <a:avLst/>
          </a:prstGeom>
          <a:solidFill>
            <a:srgbClr val="008B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996FA8D-4BE2-08C1-7A20-2B93B7B5CC2D}"/>
              </a:ext>
            </a:extLst>
          </p:cNvPr>
          <p:cNvSpPr/>
          <p:nvPr/>
        </p:nvSpPr>
        <p:spPr>
          <a:xfrm>
            <a:off x="10356024" y="4132406"/>
            <a:ext cx="108000" cy="108000"/>
          </a:xfrm>
          <a:prstGeom prst="rect">
            <a:avLst/>
          </a:prstGeom>
          <a:solidFill>
            <a:srgbClr val="99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213BE736-2FCB-D7B3-FB02-352DE80DC8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2881036"/>
              </p:ext>
            </p:extLst>
          </p:nvPr>
        </p:nvGraphicFramePr>
        <p:xfrm>
          <a:off x="489799" y="5347163"/>
          <a:ext cx="9587650" cy="771525"/>
        </p:xfrm>
        <a:graphic>
          <a:graphicData uri="http://schemas.openxmlformats.org/drawingml/2006/table">
            <a:tbl>
              <a:tblPr firstRow="1" bandRow="1"/>
              <a:tblGrid>
                <a:gridCol w="958765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58765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58765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58765">
                  <a:extLst>
                    <a:ext uri="{9D8B030D-6E8A-4147-A177-3AD203B41FA5}">
                      <a16:colId xmlns:a16="http://schemas.microsoft.com/office/drawing/2014/main" val="3096506462"/>
                    </a:ext>
                  </a:extLst>
                </a:gridCol>
                <a:gridCol w="9587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587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58765">
                  <a:extLst>
                    <a:ext uri="{9D8B030D-6E8A-4147-A177-3AD203B41FA5}">
                      <a16:colId xmlns:a16="http://schemas.microsoft.com/office/drawing/2014/main" val="2399024787"/>
                    </a:ext>
                  </a:extLst>
                </a:gridCol>
                <a:gridCol w="958765">
                  <a:extLst>
                    <a:ext uri="{9D8B030D-6E8A-4147-A177-3AD203B41FA5}">
                      <a16:colId xmlns:a16="http://schemas.microsoft.com/office/drawing/2014/main" val="2808299025"/>
                    </a:ext>
                  </a:extLst>
                </a:gridCol>
                <a:gridCol w="958765">
                  <a:extLst>
                    <a:ext uri="{9D8B030D-6E8A-4147-A177-3AD203B41FA5}">
                      <a16:colId xmlns:a16="http://schemas.microsoft.com/office/drawing/2014/main" val="3422076092"/>
                    </a:ext>
                  </a:extLst>
                </a:gridCol>
                <a:gridCol w="958765">
                  <a:extLst>
                    <a:ext uri="{9D8B030D-6E8A-4147-A177-3AD203B41FA5}">
                      <a16:colId xmlns:a16="http://schemas.microsoft.com/office/drawing/2014/main" val="4006432269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verzita/</a:t>
                      </a:r>
                      <a:br>
                        <a:rPr lang="cs-CZ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ysoká škol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ůmyslová sdružení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entura pro podnikání </a:t>
                      </a:r>
                      <a:br>
                        <a:rPr lang="cs-CZ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inova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Úřad průmyslového vlastnictví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Účetní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ecné vyhledávání na internetu (např. pomocí Google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tentový/právní zástupc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nk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ní komora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ládní instituce (Jiné než Úřad průmyslového vlastnictví)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6">
            <a:extLst>
              <a:ext uri="{FF2B5EF4-FFF2-40B4-BE49-F238E27FC236}">
                <a16:creationId xmlns:a16="http://schemas.microsoft.com/office/drawing/2014/main" id="{22B8162E-92C7-951C-2FE7-D22F318FD4B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132359"/>
              </p:ext>
            </p:extLst>
          </p:nvPr>
        </p:nvGraphicFramePr>
        <p:xfrm>
          <a:off x="404786" y="2205038"/>
          <a:ext cx="9780540" cy="3371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24">
            <a:extLst>
              <a:ext uri="{FF2B5EF4-FFF2-40B4-BE49-F238E27FC236}">
                <a16:creationId xmlns:a16="http://schemas.microsoft.com/office/drawing/2014/main" id="{5193AD75-B3A3-8AB6-7BDF-33140338BCEA}"/>
              </a:ext>
            </a:extLst>
          </p:cNvPr>
          <p:cNvSpPr/>
          <p:nvPr/>
        </p:nvSpPr>
        <p:spPr>
          <a:xfrm>
            <a:off x="10356024" y="4620548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24">
            <a:extLst>
              <a:ext uri="{FF2B5EF4-FFF2-40B4-BE49-F238E27FC236}">
                <a16:creationId xmlns:a16="http://schemas.microsoft.com/office/drawing/2014/main" id="{A396F8DA-EEB5-ABA5-26AD-7688D0857582}"/>
              </a:ext>
            </a:extLst>
          </p:cNvPr>
          <p:cNvSpPr/>
          <p:nvPr/>
        </p:nvSpPr>
        <p:spPr>
          <a:xfrm>
            <a:off x="10356024" y="2675627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4" name="Tabulka 1">
            <a:extLst>
              <a:ext uri="{FF2B5EF4-FFF2-40B4-BE49-F238E27FC236}">
                <a16:creationId xmlns:a16="http://schemas.microsoft.com/office/drawing/2014/main" id="{3F397111-091C-31AE-C963-AB87AC0DB0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3860226"/>
              </p:ext>
            </p:extLst>
          </p:nvPr>
        </p:nvGraphicFramePr>
        <p:xfrm>
          <a:off x="486001" y="2147309"/>
          <a:ext cx="9708660" cy="177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08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70866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70866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708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0866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970866">
                  <a:extLst>
                    <a:ext uri="{9D8B030D-6E8A-4147-A177-3AD203B41FA5}">
                      <a16:colId xmlns:a16="http://schemas.microsoft.com/office/drawing/2014/main" val="1575327860"/>
                    </a:ext>
                  </a:extLst>
                </a:gridCol>
                <a:gridCol w="970866">
                  <a:extLst>
                    <a:ext uri="{9D8B030D-6E8A-4147-A177-3AD203B41FA5}">
                      <a16:colId xmlns:a16="http://schemas.microsoft.com/office/drawing/2014/main" val="166583448"/>
                    </a:ext>
                  </a:extLst>
                </a:gridCol>
                <a:gridCol w="970866">
                  <a:extLst>
                    <a:ext uri="{9D8B030D-6E8A-4147-A177-3AD203B41FA5}">
                      <a16:colId xmlns:a16="http://schemas.microsoft.com/office/drawing/2014/main" val="3934176407"/>
                    </a:ext>
                  </a:extLst>
                </a:gridCol>
                <a:gridCol w="970866">
                  <a:extLst>
                    <a:ext uri="{9D8B030D-6E8A-4147-A177-3AD203B41FA5}">
                      <a16:colId xmlns:a16="http://schemas.microsoft.com/office/drawing/2014/main" val="4095734662"/>
                    </a:ext>
                  </a:extLst>
                </a:gridCol>
                <a:gridCol w="970866">
                  <a:extLst>
                    <a:ext uri="{9D8B030D-6E8A-4147-A177-3AD203B41FA5}">
                      <a16:colId xmlns:a16="http://schemas.microsoft.com/office/drawing/2014/main" val="3191823656"/>
                    </a:ext>
                  </a:extLst>
                </a:gridCol>
              </a:tblGrid>
              <a:tr h="13414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6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F1A51817-C772-C442-F210-7D5AFBE778E7}"/>
              </a:ext>
            </a:extLst>
          </p:cNvPr>
          <p:cNvSpPr txBox="1"/>
          <p:nvPr/>
        </p:nvSpPr>
        <p:spPr>
          <a:xfrm>
            <a:off x="10356024" y="2253300"/>
            <a:ext cx="143433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2BOX (5+4)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898206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6a. A jak je hodnotíte?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100" dirty="0">
                <a:solidFill>
                  <a:prstClr val="black"/>
                </a:solidFill>
                <a:latin typeface="Arial"/>
              </a:rPr>
              <a:t>N=61/47/38/24/81/144/26/102/54/35</a:t>
            </a:r>
            <a:endParaRPr lang="en-US" sz="11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0" name="Obdélník: se zakulacenými rohy 29">
            <a:extLst>
              <a:ext uri="{FF2B5EF4-FFF2-40B4-BE49-F238E27FC236}">
                <a16:creationId xmlns:a16="http://schemas.microsoft.com/office/drawing/2014/main" id="{12E7EAFF-8EE1-5EFC-8063-6F778098B16D}"/>
              </a:ext>
            </a:extLst>
          </p:cNvPr>
          <p:cNvSpPr/>
          <p:nvPr/>
        </p:nvSpPr>
        <p:spPr>
          <a:xfrm>
            <a:off x="6815755" y="5953125"/>
            <a:ext cx="3540269" cy="699401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/>
              <a:t>Z dalších zdrojů informací 3 % firem zmínily své klienty/zákazníky, 2 % svou konkurenci. </a:t>
            </a:r>
          </a:p>
        </p:txBody>
      </p:sp>
    </p:spTree>
    <p:extLst>
      <p:ext uri="{BB962C8B-B14F-4D97-AF65-F5344CB8AC3E}">
        <p14:creationId xmlns:p14="http://schemas.microsoft.com/office/powerpoint/2010/main" val="9213732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PSOS - Classical Template - 16x9">
  <a:themeElements>
    <a:clrScheme name="Personnalisé 181">
      <a:dk1>
        <a:sysClr val="windowText" lastClr="000000"/>
      </a:dk1>
      <a:lt1>
        <a:sysClr val="window" lastClr="FFFFFF"/>
      </a:lt1>
      <a:dk2>
        <a:srgbClr val="009D9C"/>
      </a:dk2>
      <a:lt2>
        <a:srgbClr val="405A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PSOS - Classical Template - 16x9">
  <a:themeElements>
    <a:clrScheme name="Personnalisé 181">
      <a:dk1>
        <a:sysClr val="windowText" lastClr="000000"/>
      </a:dk1>
      <a:lt1>
        <a:sysClr val="window" lastClr="FFFFFF"/>
      </a:lt1>
      <a:dk2>
        <a:srgbClr val="009D9C"/>
      </a:dk2>
      <a:lt2>
        <a:srgbClr val="405A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IPSOS - Classical Template - 16x9">
  <a:themeElements>
    <a:clrScheme name="Personnalisé 181">
      <a:dk1>
        <a:sysClr val="windowText" lastClr="000000"/>
      </a:dk1>
      <a:lt1>
        <a:sysClr val="window" lastClr="FFFFFF"/>
      </a:lt1>
      <a:dk2>
        <a:srgbClr val="009D9C"/>
      </a:dk2>
      <a:lt2>
        <a:srgbClr val="405A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88</TotalTime>
  <Words>4584</Words>
  <Application>Microsoft Office PowerPoint</Application>
  <PresentationFormat>Širokoúhlá obrazovka</PresentationFormat>
  <Paragraphs>1258</Paragraphs>
  <Slides>45</Slides>
  <Notes>34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45</vt:i4>
      </vt:variant>
    </vt:vector>
  </HeadingPairs>
  <TitlesOfParts>
    <vt:vector size="54" baseType="lpstr">
      <vt:lpstr>Arial</vt:lpstr>
      <vt:lpstr>Arial Black</vt:lpstr>
      <vt:lpstr>Calibri</vt:lpstr>
      <vt:lpstr>HelveticaNeueLT Std Lt Cn</vt:lpstr>
      <vt:lpstr>Wingdings</vt:lpstr>
      <vt:lpstr>IPSOS - Classical Template - 16x9</vt:lpstr>
      <vt:lpstr>1_IPSOS - Classical Template - 16x9</vt:lpstr>
      <vt:lpstr>4_IPSOS - Classical Template - 16x9</vt:lpstr>
      <vt:lpstr>Diapositive think-cell</vt:lpstr>
      <vt:lpstr>Práva duševního vlastnictví v malých a středních firmách</vt:lpstr>
      <vt:lpstr>Výzkumné pozadí</vt:lpstr>
      <vt:lpstr>metodika</vt:lpstr>
      <vt:lpstr>Shrnutí výsledků</vt:lpstr>
      <vt:lpstr>HLAVNÍ ZÁVĚRY</vt:lpstr>
      <vt:lpstr>Výsledky  v detailu: firmy  A inovace</vt:lpstr>
      <vt:lpstr>Přibližně třetina malých a středních podniků se považuje za inovativní.</vt:lpstr>
      <vt:lpstr>Nejčastějšími zdroji k získání informací pro rozvoj podnikání jsou obecné vyhledávání na internetu, banka, účetní a vysoká škola.</vt:lpstr>
      <vt:lpstr>NEJLÉPE HODNOCENÝMI ZDROJI PRO ZÍSKÁNÍ INFORMACÍ DŮLEŽITÝCH PRO ROZVOJ PODNIKÁNÍ JSOU UNIVERZITA ČI VYSOKÁ ŠKOLA  a průmyslová sdružení.</vt:lpstr>
      <vt:lpstr>Nejvíce novinek či zlepšení přijaly firmy v oblastech výrobků či služeb, které nabízejí.</vt:lpstr>
      <vt:lpstr>Nejčastěji využívanými položkami k ochraně inovací jsou obchodní tajemství, názvy a ochranné známky.</vt:lpstr>
      <vt:lpstr>NEJVĚTŠÍ VLIV na získání konkurenční výhody má složitost konstrukce výrobku, patent, doba uvedení na trh.</vt:lpstr>
      <vt:lpstr>Přibližně 2 Z 5 FIREM SPOLUPRACUJÍ S DALŠÍMI SUBJEKTY NA SPOLEČNÉM VÝVOJI INOVACÍ.</vt:lpstr>
      <vt:lpstr>Znalost a využívání práv duševního vlastnictví</vt:lpstr>
      <vt:lpstr>FIRMY NEJČASTĚJI ZNAJÍ EVROPSKÝ PATENTOVÝ ÚŘAD A ÚŘAD PRŮMYSLOVÉHO VLASTNICTVÍ. TÉMĚŘ OSMINA FIREM NENÍ OBEZNÁMENA S ŽÁDNÝM Z POJMŮ.</vt:lpstr>
      <vt:lpstr>Přibližně třetina malých a středních podniků rozumí duševnímu vlastnictví.</vt:lpstr>
      <vt:lpstr>Firmy se seznamují s informacemi o právech duševního vlastnictví nejčastěji na internetu.</vt:lpstr>
      <vt:lpstr>Dva ze tří dotazovaných se domnívají, že je důležité, aby podniky, jako ten jejich, rozuměly tomu, jak ochránit svá práva duševního vlastnictví.</vt:lpstr>
      <vt:lpstr>TÉMĚŘ TŘETINA FIREM VLASTNÍ REGISTROVANÁ PRÁVA DUŠEVNÍHO VLASTNICTVÍ. </vt:lpstr>
      <vt:lpstr>FIRMY NEJČASTĚJI VLASTNÍ OCHRANNÉ ZNÁMKY EU, NÁRODNÍ OCHRANNÉ ZNÁMKY, UŽITNÉ VZORY A PATENTY.</vt:lpstr>
      <vt:lpstr>DALŠÍMI VLASTNĚNÝMI PRÁVY DUŠEVNÍHO VLASTNICTVÍ JSOU OBCHODNÍ TAJEMSTVÍ, AUTORSKÁ PRÁVA A PRÁVA K DATABÁZÍM.</vt:lpstr>
      <vt:lpstr>TÉMĚŘ TŘETINA DOTAZOVANÝCH FIREM ZAHRNUJE DUŠEVNÍ VLASTNICTVÍ DO SVÉ OBCHODNÍ STRATEGIE.</vt:lpstr>
      <vt:lpstr>Přibližně třetina podniků v minulosti podepsala licenční smlouvu zahrnující práva duševního vlastnictví.</vt:lpstr>
      <vt:lpstr>Třetina firem při sledování trhu z hlediska možného porušení duševního vlastnictví spoléhá na zpětnou vazbu od zákazníků.</vt:lpstr>
      <vt:lpstr>1 z 10 firem uvedla, že v nich někdy došlo k porušení práv duševního vlastnictví.</vt:lpstr>
      <vt:lpstr>Pětina podniků si nechala v minulosti profesionálně nacenit svůj nehmotný majetek.</vt:lpstr>
      <vt:lpstr>Přibližně pětina podniků se někdy pokusila získat finanční prostředky využitím svého nehmotného majetku.</vt:lpstr>
      <vt:lpstr>Využívání práv duševního vlastnictví v detailu</vt:lpstr>
      <vt:lpstr>ODBORNÍCI JSOU NEJČASTĚJI VYUŽÍVÁNI V PŘÍPADĚ NÁRODNÍCH OCHRANNÝCH ZNÁMEK, OCHRANNÝCH ZNÁMEK EU A UŽITNÝCH VZORŮ.</vt:lpstr>
      <vt:lpstr>Firmy si registrují práva duševního vlastnictví převážně z důvodu, protože jim to pomáhá zabránit ostatním v kopírování jejich řešení.</vt:lpstr>
      <vt:lpstr>Firmy nejčastěji využívají externích soukromých poradců. Hledají také na internetu a využívají úřadu průmyslového vlastnictví.</vt:lpstr>
      <vt:lpstr>Duševní vlastnictví se nejsnadněji registruje v případě dalších alternativních opatření, národních ochranných známek a patentů.</vt:lpstr>
      <vt:lpstr>NEJČASTĚJŠÍ Obtíží PŘI REGISTRACI je, ŽE TRVÁ PŘÍLIŠ DLOUHO, NEŽ JSOU DUŠEVNÍ PRÁVA REGISTROVÁNA. Zhruba ŠESTINA FIREM SE S OBTÍŽEMI NESETKALA.</vt:lpstr>
      <vt:lpstr>Většina firem využívající práva duševního vlastnictví hodnotí jejich vliv na své podnikání pozitivně. </vt:lpstr>
      <vt:lpstr>Nejčastějšími pozitivními dopady využívání ochrany duševního vlastnictví jsou zlepšená pověst společnosti a zvýšení obratu.</vt:lpstr>
      <vt:lpstr>Firmy nejčastěji o registraci práva duševního vlastnictví zažádaly  v období posledních 5 let nebo během posledního roku.</vt:lpstr>
      <vt:lpstr>Firmy nevyužívající práva duševního vlastnictví</vt:lpstr>
      <vt:lpstr>Nejčastějším důvodem neregistrování duševního vlastnictví ve firmách je to, že podle nich jejich duševní vlastnictví nesplňuje právní požadavky daných předpisů.</vt:lpstr>
      <vt:lpstr>Drtivá většina podniků bez registrovaného duševního vlastnictví tuto možnost ani s nikým nekonzultovala.</vt:lpstr>
      <vt:lpstr>K registraci duševního vlastnictví by často podniky motivovala větší srozumitelnost procesu a dostupnost registrace.</vt:lpstr>
      <vt:lpstr>Velká většina podniků nevnímá žádný vliv neregistrování duševního vlastnictví na podnikání společnosti.</vt:lpstr>
      <vt:lpstr>Struktura vzorku</vt:lpstr>
      <vt:lpstr>Struktura vzorku (v %)</vt:lpstr>
      <vt:lpstr>kontakty</vt:lpstr>
      <vt:lpstr>Kontakt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nabídek / PROPOSAL TEMPLATE</dc:title>
  <dc:creator>Anna Mudrova</dc:creator>
  <cp:lastModifiedBy>Ljuba Kančiová</cp:lastModifiedBy>
  <cp:revision>653</cp:revision>
  <dcterms:created xsi:type="dcterms:W3CDTF">2019-07-04T10:58:50Z</dcterms:created>
  <dcterms:modified xsi:type="dcterms:W3CDTF">2023-05-17T07:36:58Z</dcterms:modified>
</cp:coreProperties>
</file>